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heme/themeOverride3.xml" ContentType="application/vnd.openxmlformats-officedocument.themeOverride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heme/themeOverride2.xml" ContentType="application/vnd.openxmlformats-officedocument.themeOverride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Default Extension="wdp" ContentType="image/vnd.ms-photo"/>
  <Override PartName="/ppt/slideLayouts/slideLayout10.xml" ContentType="application/vnd.openxmlformats-officedocument.presentationml.slideLayout+xml"/>
  <Default Extension="gif" ContentType="image/gif"/>
  <Default Extension="vml" ContentType="application/vnd.openxmlformats-officedocument.vmlDrawing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diagrams/quickStyle1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</p:sldMasterIdLst>
  <p:notesMasterIdLst>
    <p:notesMasterId r:id="rId28"/>
  </p:notesMasterIdLst>
  <p:sldIdLst>
    <p:sldId id="257" r:id="rId2"/>
    <p:sldId id="258" r:id="rId3"/>
    <p:sldId id="259" r:id="rId4"/>
    <p:sldId id="302" r:id="rId5"/>
    <p:sldId id="303" r:id="rId6"/>
    <p:sldId id="308" r:id="rId7"/>
    <p:sldId id="260" r:id="rId8"/>
    <p:sldId id="261" r:id="rId9"/>
    <p:sldId id="309" r:id="rId10"/>
    <p:sldId id="307" r:id="rId11"/>
    <p:sldId id="256" r:id="rId12"/>
    <p:sldId id="311" r:id="rId13"/>
    <p:sldId id="304" r:id="rId14"/>
    <p:sldId id="270" r:id="rId15"/>
    <p:sldId id="268" r:id="rId16"/>
    <p:sldId id="269" r:id="rId17"/>
    <p:sldId id="276" r:id="rId18"/>
    <p:sldId id="277" r:id="rId19"/>
    <p:sldId id="310" r:id="rId20"/>
    <p:sldId id="265" r:id="rId21"/>
    <p:sldId id="273" r:id="rId22"/>
    <p:sldId id="274" r:id="rId23"/>
    <p:sldId id="278" r:id="rId24"/>
    <p:sldId id="305" r:id="rId25"/>
    <p:sldId id="263" r:id="rId26"/>
    <p:sldId id="279" r:id="rId2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3415" autoAdjust="0"/>
    <p:restoredTop sz="94660"/>
  </p:normalViewPr>
  <p:slideViewPr>
    <p:cSldViewPr>
      <p:cViewPr varScale="1">
        <p:scale>
          <a:sx n="68" d="100"/>
          <a:sy n="68" d="100"/>
        </p:scale>
        <p:origin x="-1536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1E35357-FC7B-45EC-8C21-5449D2FE7C0B}" type="doc">
      <dgm:prSet loTypeId="urn:microsoft.com/office/officeart/2005/8/layout/chevron2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45F9DC46-A76D-46F9-B9D0-370739AB8F1C}">
      <dgm:prSet phldrT="[Text]" custT="1"/>
      <dgm:spPr/>
      <dgm:t>
        <a:bodyPr/>
        <a:lstStyle/>
        <a:p>
          <a:r>
            <a:rPr lang="en-US" sz="1800">
              <a:latin typeface="Arial" pitchFamily="34" charset="0"/>
              <a:cs typeface="Arial" pitchFamily="34" charset="0"/>
            </a:rPr>
            <a:t>1</a:t>
          </a:r>
        </a:p>
      </dgm:t>
    </dgm:pt>
    <dgm:pt modelId="{3992E04F-18A3-4D9E-B35A-BCA67DFD5651}" type="parTrans" cxnId="{96F48590-1308-4E2A-8F30-6CEEE7D8858D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399BA67-FE49-4D9B-8B48-64180AE42503}" type="sibTrans" cxnId="{96F48590-1308-4E2A-8F30-6CEEE7D8858D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846D631-E4CF-45FC-B1DF-7BA7555D9B67}">
      <dgm:prSet phldrT="[Text]" custT="1"/>
      <dgm:spPr/>
      <dgm:t>
        <a:bodyPr/>
        <a:lstStyle/>
        <a:p>
          <a:pPr algn="l"/>
          <a:r>
            <a:rPr lang="en-US" sz="1400" b="1" dirty="0">
              <a:latin typeface="Arial" pitchFamily="34" charset="0"/>
              <a:cs typeface="Arial" pitchFamily="34" charset="0"/>
            </a:rPr>
            <a:t>Study of basics of robotics &amp; planning for Industrial visit</a:t>
          </a:r>
        </a:p>
      </dgm:t>
    </dgm:pt>
    <dgm:pt modelId="{039530B3-17E4-4444-A299-20E07EF957C9}" type="parTrans" cxnId="{B819078D-DC82-460C-8793-CE52D8B01070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5995F39A-4021-4842-8F0E-DB2F19DBCD18}" type="sibTrans" cxnId="{B819078D-DC82-460C-8793-CE52D8B01070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010AD38-9D84-41B5-B7C3-485A502C8261}">
      <dgm:prSet phldrT="[Text]" custT="1"/>
      <dgm:spPr/>
      <dgm:t>
        <a:bodyPr/>
        <a:lstStyle/>
        <a:p>
          <a:r>
            <a:rPr lang="en-US" sz="1800">
              <a:latin typeface="Arial" pitchFamily="34" charset="0"/>
              <a:cs typeface="Arial" pitchFamily="34" charset="0"/>
            </a:rPr>
            <a:t>2</a:t>
          </a:r>
        </a:p>
      </dgm:t>
    </dgm:pt>
    <dgm:pt modelId="{EAAD10D1-E72A-482F-90AA-24138698578A}" type="parTrans" cxnId="{518DF411-8AEA-4AC2-9A9B-43C392FF8CAC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18B7B365-B3D9-4D33-9CAA-D839787FC11D}" type="sibTrans" cxnId="{518DF411-8AEA-4AC2-9A9B-43C392FF8CAC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2E4DBF1-F7C7-4E5A-9DD2-323FCBD794E2}">
      <dgm:prSet phldrT="[Text]" custT="1"/>
      <dgm:spPr/>
      <dgm:t>
        <a:bodyPr/>
        <a:lstStyle/>
        <a:p>
          <a:r>
            <a:rPr lang="en-US" sz="1800">
              <a:latin typeface="Arial" pitchFamily="34" charset="0"/>
              <a:cs typeface="Arial" pitchFamily="34" charset="0"/>
            </a:rPr>
            <a:t>3</a:t>
          </a:r>
        </a:p>
      </dgm:t>
    </dgm:pt>
    <dgm:pt modelId="{DEA81149-5DDC-4568-8B11-77B1C35AD37A}" type="parTrans" cxnId="{B504195F-C14F-47F8-962B-6840B5FD2AA6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B06F291D-358B-4A89-B410-E8FD46F0D610}" type="sibTrans" cxnId="{B504195F-C14F-47F8-962B-6840B5FD2AA6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3302D424-85BF-43A7-9594-CA2C7A576D04}">
      <dgm:prSet custT="1"/>
      <dgm:spPr/>
      <dgm:t>
        <a:bodyPr/>
        <a:lstStyle/>
        <a:p>
          <a:r>
            <a:rPr lang="en-IN" sz="1400" b="1" i="0" u="none">
              <a:latin typeface="Arial" pitchFamily="34" charset="0"/>
              <a:cs typeface="Arial" pitchFamily="34" charset="0"/>
            </a:rPr>
            <a:t>Prepration of Bill Of maetrial for required parts.</a:t>
          </a:r>
          <a:endParaRPr lang="en-US" sz="1400" b="1">
            <a:latin typeface="Arial" pitchFamily="34" charset="0"/>
            <a:cs typeface="Arial" pitchFamily="34" charset="0"/>
          </a:endParaRPr>
        </a:p>
      </dgm:t>
    </dgm:pt>
    <dgm:pt modelId="{AEBE4192-A8A9-4997-8C7D-20F3CF404F26}" type="parTrans" cxnId="{7DBB6D06-7660-4028-883A-A34B064984D1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831ADFC-D2EE-40DF-8F54-248C41AD2838}" type="sibTrans" cxnId="{7DBB6D06-7660-4028-883A-A34B064984D1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EAFBFB6-8056-4263-BC08-06428A253FC2}">
      <dgm:prSet custT="1"/>
      <dgm:spPr/>
      <dgm:t>
        <a:bodyPr/>
        <a:lstStyle/>
        <a:p>
          <a:r>
            <a:rPr lang="en-IN" sz="1400" b="1" dirty="0">
              <a:latin typeface="Arial" pitchFamily="34" charset="0"/>
              <a:cs typeface="Arial" pitchFamily="34" charset="0"/>
            </a:rPr>
            <a:t>Prepare 3D  models for support brackets &amp; Pen holder.</a:t>
          </a:r>
          <a:endParaRPr lang="en-US" sz="1400" b="1" dirty="0">
            <a:latin typeface="Arial" pitchFamily="34" charset="0"/>
            <a:cs typeface="Arial" pitchFamily="34" charset="0"/>
          </a:endParaRPr>
        </a:p>
      </dgm:t>
    </dgm:pt>
    <dgm:pt modelId="{244206A3-F698-4978-A876-BAE4337AE338}" type="parTrans" cxnId="{4F9254A1-B19C-4FE4-B4F7-DE42D2AD1E7F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9CBA56B7-45F1-4380-BE3F-0C134F822E5F}" type="sibTrans" cxnId="{4F9254A1-B19C-4FE4-B4F7-DE42D2AD1E7F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E1515B0-F544-4A3B-BBCE-D8CDB286A693}">
      <dgm:prSet custT="1"/>
      <dgm:spPr/>
      <dgm:t>
        <a:bodyPr/>
        <a:lstStyle/>
        <a:p>
          <a:r>
            <a:rPr lang="en-US" sz="1800" b="0">
              <a:latin typeface="Arial" pitchFamily="34" charset="0"/>
              <a:cs typeface="Arial" pitchFamily="34" charset="0"/>
            </a:rPr>
            <a:t>4</a:t>
          </a:r>
        </a:p>
      </dgm:t>
    </dgm:pt>
    <dgm:pt modelId="{5C63EDB7-A7E3-4964-88ED-4AE0D8AF5A01}" type="parTrans" cxnId="{A17A66E9-D2B3-4948-95A2-0F6D0D35CBBF}">
      <dgm:prSet/>
      <dgm:spPr/>
      <dgm:t>
        <a:bodyPr/>
        <a:lstStyle/>
        <a:p>
          <a:endParaRPr lang="en-IN"/>
        </a:p>
      </dgm:t>
    </dgm:pt>
    <dgm:pt modelId="{01199BD7-46D5-420D-A4A7-4C148EB6EF5C}" type="sibTrans" cxnId="{A17A66E9-D2B3-4948-95A2-0F6D0D35CBBF}">
      <dgm:prSet/>
      <dgm:spPr/>
      <dgm:t>
        <a:bodyPr/>
        <a:lstStyle/>
        <a:p>
          <a:endParaRPr lang="en-IN"/>
        </a:p>
      </dgm:t>
    </dgm:pt>
    <dgm:pt modelId="{5E431EEC-9D50-4AFD-932B-16E41C564FF8}">
      <dgm:prSet custT="1"/>
      <dgm:spPr/>
      <dgm:t>
        <a:bodyPr/>
        <a:lstStyle/>
        <a:p>
          <a:r>
            <a:rPr lang="en-IN" sz="1400" b="1" dirty="0"/>
            <a:t>Understanding the various </a:t>
          </a:r>
          <a:r>
            <a:rPr lang="en-IN" sz="1400" b="1" dirty="0" smtClean="0"/>
            <a:t>software's </a:t>
          </a:r>
          <a:r>
            <a:rPr lang="en-IN" sz="1400" b="1" dirty="0"/>
            <a:t>like 3D </a:t>
          </a:r>
          <a:r>
            <a:rPr lang="en-IN" sz="1400" b="1" dirty="0" smtClean="0"/>
            <a:t>Printing </a:t>
          </a:r>
          <a:r>
            <a:rPr lang="en-IN" sz="1400" b="1" dirty="0"/>
            <a:t>software </a:t>
          </a:r>
          <a:r>
            <a:rPr lang="en-IN" sz="1400" b="1" dirty="0" smtClean="0"/>
            <a:t>(</a:t>
          </a:r>
          <a:r>
            <a:rPr lang="en-IN" sz="1400" b="1" dirty="0" err="1" smtClean="0"/>
            <a:t>Ultimaker</a:t>
          </a:r>
          <a:r>
            <a:rPr lang="en-IN" sz="1400" b="1" dirty="0" smtClean="0"/>
            <a:t> </a:t>
          </a:r>
          <a:r>
            <a:rPr lang="en-IN" sz="1400" b="1" dirty="0"/>
            <a:t>cura), programming </a:t>
          </a:r>
          <a:r>
            <a:rPr lang="en-IN" sz="1400" b="1" dirty="0" smtClean="0"/>
            <a:t>software</a:t>
          </a:r>
          <a:r>
            <a:rPr lang="en-IN" sz="1400" dirty="0" smtClean="0"/>
            <a:t>.</a:t>
          </a:r>
          <a:endParaRPr lang="en-IN" sz="1400" dirty="0"/>
        </a:p>
      </dgm:t>
    </dgm:pt>
    <dgm:pt modelId="{9155533A-DC53-453D-8DFD-04F75832C6A5}" type="parTrans" cxnId="{5C5CC6EF-14F6-4AA8-A9F7-0C6AE2DB0E59}">
      <dgm:prSet/>
      <dgm:spPr/>
      <dgm:t>
        <a:bodyPr/>
        <a:lstStyle/>
        <a:p>
          <a:endParaRPr lang="en-IN"/>
        </a:p>
      </dgm:t>
    </dgm:pt>
    <dgm:pt modelId="{B691BF11-A753-4F19-9973-DA688F21B9E0}" type="sibTrans" cxnId="{5C5CC6EF-14F6-4AA8-A9F7-0C6AE2DB0E59}">
      <dgm:prSet/>
      <dgm:spPr/>
      <dgm:t>
        <a:bodyPr/>
        <a:lstStyle/>
        <a:p>
          <a:endParaRPr lang="en-IN"/>
        </a:p>
      </dgm:t>
    </dgm:pt>
    <dgm:pt modelId="{8AFB6D7C-9058-4271-899A-E8A9A27E5EFA}">
      <dgm:prSet custT="1"/>
      <dgm:spPr/>
      <dgm:t>
        <a:bodyPr/>
        <a:lstStyle/>
        <a:p>
          <a:r>
            <a:rPr lang="en-IN" sz="2000"/>
            <a:t>5</a:t>
          </a:r>
        </a:p>
      </dgm:t>
    </dgm:pt>
    <dgm:pt modelId="{12B0C9AC-18CA-42A5-99C3-F7225D7F0A2B}" type="parTrans" cxnId="{8019F246-EA73-43F6-9EBC-25BF164F8939}">
      <dgm:prSet/>
      <dgm:spPr/>
      <dgm:t>
        <a:bodyPr/>
        <a:lstStyle/>
        <a:p>
          <a:endParaRPr lang="en-IN"/>
        </a:p>
      </dgm:t>
    </dgm:pt>
    <dgm:pt modelId="{0FE1656A-6305-4DE0-AFB2-859A0793E412}" type="sibTrans" cxnId="{8019F246-EA73-43F6-9EBC-25BF164F8939}">
      <dgm:prSet/>
      <dgm:spPr/>
      <dgm:t>
        <a:bodyPr/>
        <a:lstStyle/>
        <a:p>
          <a:endParaRPr lang="en-IN"/>
        </a:p>
      </dgm:t>
    </dgm:pt>
    <dgm:pt modelId="{12A3F8DB-6112-4EDE-B3DD-2F888A330471}">
      <dgm:prSet custT="1"/>
      <dgm:spPr/>
      <dgm:t>
        <a:bodyPr/>
        <a:lstStyle/>
        <a:p>
          <a:r>
            <a:rPr lang="en-IN" sz="1400" b="1"/>
            <a:t>Receipt of materials along with hardwares</a:t>
          </a:r>
        </a:p>
      </dgm:t>
    </dgm:pt>
    <dgm:pt modelId="{DCAB7824-C89F-412B-98EF-BBEF9748D0DF}" type="parTrans" cxnId="{15B76A50-0649-42DA-8C9D-6B230C12D2C8}">
      <dgm:prSet/>
      <dgm:spPr/>
      <dgm:t>
        <a:bodyPr/>
        <a:lstStyle/>
        <a:p>
          <a:endParaRPr lang="en-IN"/>
        </a:p>
      </dgm:t>
    </dgm:pt>
    <dgm:pt modelId="{5E10E631-0E82-45E9-A20C-76F09ECCCECD}" type="sibTrans" cxnId="{15B76A50-0649-42DA-8C9D-6B230C12D2C8}">
      <dgm:prSet/>
      <dgm:spPr/>
      <dgm:t>
        <a:bodyPr/>
        <a:lstStyle/>
        <a:p>
          <a:endParaRPr lang="en-IN"/>
        </a:p>
      </dgm:t>
    </dgm:pt>
    <dgm:pt modelId="{622C6C84-866C-4C52-98AB-D269A78889D3}">
      <dgm:prSet custT="1"/>
      <dgm:spPr/>
      <dgm:t>
        <a:bodyPr/>
        <a:lstStyle/>
        <a:p>
          <a:r>
            <a:rPr lang="en-IN" sz="2000"/>
            <a:t>6</a:t>
          </a:r>
          <a:endParaRPr lang="en-IN" sz="1100"/>
        </a:p>
      </dgm:t>
    </dgm:pt>
    <dgm:pt modelId="{B3DCE6D6-214B-4B47-AAB5-F25BF6CC2E2B}" type="parTrans" cxnId="{157F7939-2876-477F-B838-1BD065D89E53}">
      <dgm:prSet/>
      <dgm:spPr/>
      <dgm:t>
        <a:bodyPr/>
        <a:lstStyle/>
        <a:p>
          <a:endParaRPr lang="en-IN"/>
        </a:p>
      </dgm:t>
    </dgm:pt>
    <dgm:pt modelId="{455476C8-AD4D-4971-9A79-F652712E9664}" type="sibTrans" cxnId="{157F7939-2876-477F-B838-1BD065D89E53}">
      <dgm:prSet/>
      <dgm:spPr/>
      <dgm:t>
        <a:bodyPr/>
        <a:lstStyle/>
        <a:p>
          <a:endParaRPr lang="en-IN"/>
        </a:p>
      </dgm:t>
    </dgm:pt>
    <dgm:pt modelId="{37CE183C-14D5-478C-9E6B-03F42B398613}">
      <dgm:prSet custT="1"/>
      <dgm:spPr/>
      <dgm:t>
        <a:bodyPr/>
        <a:lstStyle/>
        <a:p>
          <a:r>
            <a:rPr lang="en-IN" sz="1400" b="1" dirty="0"/>
            <a:t>Building prototype for trial purpose, final assembly on board</a:t>
          </a:r>
        </a:p>
      </dgm:t>
    </dgm:pt>
    <dgm:pt modelId="{12574124-61FA-4742-9EAC-F9C133CFBBED}" type="parTrans" cxnId="{840E133E-BAC6-4D00-921E-29745D7C6E99}">
      <dgm:prSet/>
      <dgm:spPr/>
      <dgm:t>
        <a:bodyPr/>
        <a:lstStyle/>
        <a:p>
          <a:endParaRPr lang="en-IN"/>
        </a:p>
      </dgm:t>
    </dgm:pt>
    <dgm:pt modelId="{22F56611-7B39-4D29-8F70-16187B460300}" type="sibTrans" cxnId="{840E133E-BAC6-4D00-921E-29745D7C6E99}">
      <dgm:prSet/>
      <dgm:spPr/>
      <dgm:t>
        <a:bodyPr/>
        <a:lstStyle/>
        <a:p>
          <a:endParaRPr lang="en-IN"/>
        </a:p>
      </dgm:t>
    </dgm:pt>
    <dgm:pt modelId="{8E3BAF31-9D5D-4367-B3DE-D6AD9F2659FB}">
      <dgm:prSet custT="1"/>
      <dgm:spPr/>
      <dgm:t>
        <a:bodyPr/>
        <a:lstStyle/>
        <a:p>
          <a:pPr algn="l"/>
          <a:r>
            <a:rPr lang="en-IN" sz="1400" b="1" dirty="0"/>
            <a:t>Check for </a:t>
          </a:r>
          <a:r>
            <a:rPr lang="en-IN" sz="1400" b="1" dirty="0" smtClean="0"/>
            <a:t>source codes </a:t>
          </a:r>
          <a:r>
            <a:rPr lang="en-IN" sz="1400" b="1" dirty="0"/>
            <a:t>&amp; machine settings, uploading image for testing working of robot.</a:t>
          </a:r>
        </a:p>
      </dgm:t>
    </dgm:pt>
    <dgm:pt modelId="{F33ED742-CE1E-4120-9228-A6A5D762FECB}" type="parTrans" cxnId="{18136369-B195-421B-96FC-F1E482537F2F}">
      <dgm:prSet/>
      <dgm:spPr/>
      <dgm:t>
        <a:bodyPr/>
        <a:lstStyle/>
        <a:p>
          <a:endParaRPr lang="en-IN"/>
        </a:p>
      </dgm:t>
    </dgm:pt>
    <dgm:pt modelId="{52A7D31D-6305-4427-B8A1-68F633EEA635}" type="sibTrans" cxnId="{18136369-B195-421B-96FC-F1E482537F2F}">
      <dgm:prSet/>
      <dgm:spPr/>
      <dgm:t>
        <a:bodyPr/>
        <a:lstStyle/>
        <a:p>
          <a:endParaRPr lang="en-IN"/>
        </a:p>
      </dgm:t>
    </dgm:pt>
    <dgm:pt modelId="{B7DACFA2-7A5D-45D9-AAA5-FFB5679E7186}">
      <dgm:prSet custT="1"/>
      <dgm:spPr/>
      <dgm:t>
        <a:bodyPr/>
        <a:lstStyle/>
        <a:p>
          <a:r>
            <a:rPr lang="en-IN" sz="1800"/>
            <a:t>7</a:t>
          </a:r>
        </a:p>
      </dgm:t>
    </dgm:pt>
    <dgm:pt modelId="{99079A22-9481-4B80-B6F0-A5E45DE5B74B}" type="parTrans" cxnId="{8FC269E9-4B6D-48D8-81E9-69CAD2167B83}">
      <dgm:prSet/>
      <dgm:spPr/>
      <dgm:t>
        <a:bodyPr/>
        <a:lstStyle/>
        <a:p>
          <a:endParaRPr lang="en-IN"/>
        </a:p>
      </dgm:t>
    </dgm:pt>
    <dgm:pt modelId="{B7644866-E35F-4EF7-A017-51DCAA020243}" type="sibTrans" cxnId="{8FC269E9-4B6D-48D8-81E9-69CAD2167B83}">
      <dgm:prSet/>
      <dgm:spPr/>
      <dgm:t>
        <a:bodyPr/>
        <a:lstStyle/>
        <a:p>
          <a:endParaRPr lang="en-IN"/>
        </a:p>
      </dgm:t>
    </dgm:pt>
    <dgm:pt modelId="{B819FC9B-0FC5-4D04-B68E-BF7107B730AB}" type="pres">
      <dgm:prSet presAssocID="{E1E35357-FC7B-45EC-8C21-5449D2FE7C0B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0A7824A-9C0B-401F-99F7-38D29C469BEA}" type="pres">
      <dgm:prSet presAssocID="{45F9DC46-A76D-46F9-B9D0-370739AB8F1C}" presName="composite" presStyleCnt="0"/>
      <dgm:spPr/>
    </dgm:pt>
    <dgm:pt modelId="{6E4CCB73-6B2C-4A01-A5DE-89E18FEA916B}" type="pres">
      <dgm:prSet presAssocID="{45F9DC46-A76D-46F9-B9D0-370739AB8F1C}" presName="parentText" presStyleLbl="alignNode1" presStyleIdx="0" presStyleCnt="7" custLinFactNeighborX="0" custLinFactNeighborY="-4519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4717552-82C7-41CA-91A3-91C0624AA880}" type="pres">
      <dgm:prSet presAssocID="{45F9DC46-A76D-46F9-B9D0-370739AB8F1C}" presName="descendantText" presStyleLbl="alignAcc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12E8DD4-E38E-4CD4-BCD7-0855C71CE26B}" type="pres">
      <dgm:prSet presAssocID="{C399BA67-FE49-4D9B-8B48-64180AE42503}" presName="sp" presStyleCnt="0"/>
      <dgm:spPr/>
    </dgm:pt>
    <dgm:pt modelId="{083CD33A-0AF3-47CA-AF27-0B0D8E1D3643}" type="pres">
      <dgm:prSet presAssocID="{8010AD38-9D84-41B5-B7C3-485A502C8261}" presName="composite" presStyleCnt="0"/>
      <dgm:spPr/>
    </dgm:pt>
    <dgm:pt modelId="{2405C39B-6A40-40FB-B083-00EEADF78825}" type="pres">
      <dgm:prSet presAssocID="{8010AD38-9D84-41B5-B7C3-485A502C8261}" presName="parentText" presStyleLbl="alignNode1" presStyleIdx="1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04C63D7-2936-4648-ADA7-13E9A95AE176}" type="pres">
      <dgm:prSet presAssocID="{8010AD38-9D84-41B5-B7C3-485A502C8261}" presName="descendantText" presStyleLbl="alignAcc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57B1DB-F281-469D-9426-AC969B257DA2}" type="pres">
      <dgm:prSet presAssocID="{18B7B365-B3D9-4D33-9CAA-D839787FC11D}" presName="sp" presStyleCnt="0"/>
      <dgm:spPr/>
    </dgm:pt>
    <dgm:pt modelId="{2429BACF-FA12-49B9-A044-B22D358E7EFD}" type="pres">
      <dgm:prSet presAssocID="{22E4DBF1-F7C7-4E5A-9DD2-323FCBD794E2}" presName="composite" presStyleCnt="0"/>
      <dgm:spPr/>
    </dgm:pt>
    <dgm:pt modelId="{2B379B85-CDEE-4BF0-B008-D0E83291A6F6}" type="pres">
      <dgm:prSet presAssocID="{22E4DBF1-F7C7-4E5A-9DD2-323FCBD794E2}" presName="parentText" presStyleLbl="alignNode1" presStyleIdx="2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5553A50-606E-42B0-8A31-1AC6E5129ED0}" type="pres">
      <dgm:prSet presAssocID="{22E4DBF1-F7C7-4E5A-9DD2-323FCBD794E2}" presName="descendantText" presStyleLbl="alignAcc1" presStyleIdx="2" presStyleCnt="7" custScaleX="100000" custLinFactNeighborX="-93" custLinFactNeighborY="-62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12BAA98-B066-4782-B0F7-1D99C3E309AC}" type="pres">
      <dgm:prSet presAssocID="{B06F291D-358B-4A89-B410-E8FD46F0D610}" presName="sp" presStyleCnt="0"/>
      <dgm:spPr/>
    </dgm:pt>
    <dgm:pt modelId="{068BE70B-6459-4E6F-8181-EA5ABE83E688}" type="pres">
      <dgm:prSet presAssocID="{CE1515B0-F544-4A3B-BBCE-D8CDB286A693}" presName="composite" presStyleCnt="0"/>
      <dgm:spPr/>
    </dgm:pt>
    <dgm:pt modelId="{5C843378-F7AB-4300-A774-8380F124E7EA}" type="pres">
      <dgm:prSet presAssocID="{CE1515B0-F544-4A3B-BBCE-D8CDB286A693}" presName="parentText" presStyleLbl="alignNode1" presStyleIdx="3" presStyleCnt="7" custLinFactNeighborX="-1405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5674517-8B7E-42E9-9443-D12F2F1D9D3F}" type="pres">
      <dgm:prSet presAssocID="{CE1515B0-F544-4A3B-BBCE-D8CDB286A693}" presName="descendantText" presStyleLbl="alignAcc1" presStyleIdx="3" presStyleCnt="7" custScaleY="14157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59401C-9DFD-4A8E-97F9-21E9E137A3C6}" type="pres">
      <dgm:prSet presAssocID="{01199BD7-46D5-420D-A4A7-4C148EB6EF5C}" presName="sp" presStyleCnt="0"/>
      <dgm:spPr/>
    </dgm:pt>
    <dgm:pt modelId="{3120330B-2CAC-41AB-99E3-8E121A9714BC}" type="pres">
      <dgm:prSet presAssocID="{8AFB6D7C-9058-4271-899A-E8A9A27E5EFA}" presName="composite" presStyleCnt="0"/>
      <dgm:spPr/>
    </dgm:pt>
    <dgm:pt modelId="{9BE63CFF-DC23-43CB-BF0B-8858D9FC260D}" type="pres">
      <dgm:prSet presAssocID="{8AFB6D7C-9058-4271-899A-E8A9A27E5EFA}" presName="parentText" presStyleLbl="alignNode1" presStyleIdx="4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014AF49-9DDC-403B-BDEB-00C80C7F3F8A}" type="pres">
      <dgm:prSet presAssocID="{8AFB6D7C-9058-4271-899A-E8A9A27E5EFA}" presName="descendantText" presStyleLbl="alignAcc1" presStyleIdx="4" presStyleCnt="7" custScaleY="84076" custLinFactNeighborY="154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A5E1BF8-B376-4FAF-9218-51888B1F1A24}" type="pres">
      <dgm:prSet presAssocID="{0FE1656A-6305-4DE0-AFB2-859A0793E412}" presName="sp" presStyleCnt="0"/>
      <dgm:spPr/>
    </dgm:pt>
    <dgm:pt modelId="{4C99CCFD-636C-4B5D-A787-C98A209C16A6}" type="pres">
      <dgm:prSet presAssocID="{622C6C84-866C-4C52-98AB-D269A78889D3}" presName="composite" presStyleCnt="0"/>
      <dgm:spPr/>
    </dgm:pt>
    <dgm:pt modelId="{2E33BCFF-BBC5-439B-9CC3-F1D64156F1FC}" type="pres">
      <dgm:prSet presAssocID="{622C6C84-866C-4C52-98AB-D269A78889D3}" presName="parentText" presStyleLbl="alignNode1" presStyleIdx="5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ED37EC-9AFD-4CD4-BB49-5B9F00FD5960}" type="pres">
      <dgm:prSet presAssocID="{622C6C84-866C-4C52-98AB-D269A78889D3}" presName="descendantText" presStyleLbl="alignAcc1" presStyleIdx="5" presStyleCnt="7" custLinFactNeighborY="176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71EEA61-D637-4242-82F2-F98150A0F8D2}" type="pres">
      <dgm:prSet presAssocID="{455476C8-AD4D-4971-9A79-F652712E9664}" presName="sp" presStyleCnt="0"/>
      <dgm:spPr/>
    </dgm:pt>
    <dgm:pt modelId="{C9A59497-2C50-43F1-A411-8515AC2BE4D4}" type="pres">
      <dgm:prSet presAssocID="{B7DACFA2-7A5D-45D9-AAA5-FFB5679E7186}" presName="composite" presStyleCnt="0"/>
      <dgm:spPr/>
    </dgm:pt>
    <dgm:pt modelId="{AAFF8D8B-A020-4FAF-8C56-F6E439BC303D}" type="pres">
      <dgm:prSet presAssocID="{B7DACFA2-7A5D-45D9-AAA5-FFB5679E7186}" presName="parentText" presStyleLbl="alignNode1" presStyleIdx="6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5DBC107-3F47-405B-BA59-C0CB213EA7C3}" type="pres">
      <dgm:prSet presAssocID="{B7DACFA2-7A5D-45D9-AAA5-FFB5679E7186}" presName="descendantText" presStyleLbl="alignAcc1" presStyleIdx="6" presStyleCnt="7" custScaleY="145164" custLinFactNeighborY="44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DBB6D06-7660-4028-883A-A34B064984D1}" srcId="{8010AD38-9D84-41B5-B7C3-485A502C8261}" destId="{3302D424-85BF-43A7-9594-CA2C7A576D04}" srcOrd="0" destOrd="0" parTransId="{AEBE4192-A8A9-4997-8C7D-20F3CF404F26}" sibTransId="{D831ADFC-D2EE-40DF-8F54-248C41AD2838}"/>
    <dgm:cxn modelId="{A0075D08-AE9B-49D9-B0D3-E5B80482BE58}" type="presOf" srcId="{8AFB6D7C-9058-4271-899A-E8A9A27E5EFA}" destId="{9BE63CFF-DC23-43CB-BF0B-8858D9FC260D}" srcOrd="0" destOrd="0" presId="urn:microsoft.com/office/officeart/2005/8/layout/chevron2"/>
    <dgm:cxn modelId="{A17A66E9-D2B3-4948-95A2-0F6D0D35CBBF}" srcId="{E1E35357-FC7B-45EC-8C21-5449D2FE7C0B}" destId="{CE1515B0-F544-4A3B-BBCE-D8CDB286A693}" srcOrd="3" destOrd="0" parTransId="{5C63EDB7-A7E3-4964-88ED-4AE0D8AF5A01}" sibTransId="{01199BD7-46D5-420D-A4A7-4C148EB6EF5C}"/>
    <dgm:cxn modelId="{13895886-685B-4C83-8AA8-BCDEF7803C80}" type="presOf" srcId="{45F9DC46-A76D-46F9-B9D0-370739AB8F1C}" destId="{6E4CCB73-6B2C-4A01-A5DE-89E18FEA916B}" srcOrd="0" destOrd="0" presId="urn:microsoft.com/office/officeart/2005/8/layout/chevron2"/>
    <dgm:cxn modelId="{A1F1A9CF-B371-495E-BB00-6D20A5499D62}" type="presOf" srcId="{8E3BAF31-9D5D-4367-B3DE-D6AD9F2659FB}" destId="{55DBC107-3F47-405B-BA59-C0CB213EA7C3}" srcOrd="0" destOrd="0" presId="urn:microsoft.com/office/officeart/2005/8/layout/chevron2"/>
    <dgm:cxn modelId="{32EF8FDE-7623-493B-8163-2F398ACC0E68}" type="presOf" srcId="{B7DACFA2-7A5D-45D9-AAA5-FFB5679E7186}" destId="{AAFF8D8B-A020-4FAF-8C56-F6E439BC303D}" srcOrd="0" destOrd="0" presId="urn:microsoft.com/office/officeart/2005/8/layout/chevron2"/>
    <dgm:cxn modelId="{18136369-B195-421B-96FC-F1E482537F2F}" srcId="{B7DACFA2-7A5D-45D9-AAA5-FFB5679E7186}" destId="{8E3BAF31-9D5D-4367-B3DE-D6AD9F2659FB}" srcOrd="0" destOrd="0" parTransId="{F33ED742-CE1E-4120-9228-A6A5D762FECB}" sibTransId="{52A7D31D-6305-4427-B8A1-68F633EEA635}"/>
    <dgm:cxn modelId="{A1AFA16E-5519-4683-ADBF-919D03B08107}" type="presOf" srcId="{622C6C84-866C-4C52-98AB-D269A78889D3}" destId="{2E33BCFF-BBC5-439B-9CC3-F1D64156F1FC}" srcOrd="0" destOrd="0" presId="urn:microsoft.com/office/officeart/2005/8/layout/chevron2"/>
    <dgm:cxn modelId="{B819078D-DC82-460C-8793-CE52D8B01070}" srcId="{45F9DC46-A76D-46F9-B9D0-370739AB8F1C}" destId="{2846D631-E4CF-45FC-B1DF-7BA7555D9B67}" srcOrd="0" destOrd="0" parTransId="{039530B3-17E4-4444-A299-20E07EF957C9}" sibTransId="{5995F39A-4021-4842-8F0E-DB2F19DBCD18}"/>
    <dgm:cxn modelId="{15B76A50-0649-42DA-8C9D-6B230C12D2C8}" srcId="{8AFB6D7C-9058-4271-899A-E8A9A27E5EFA}" destId="{12A3F8DB-6112-4EDE-B3DD-2F888A330471}" srcOrd="0" destOrd="0" parTransId="{DCAB7824-C89F-412B-98EF-BBEF9748D0DF}" sibTransId="{5E10E631-0E82-45E9-A20C-76F09ECCCECD}"/>
    <dgm:cxn modelId="{157F7939-2876-477F-B838-1BD065D89E53}" srcId="{E1E35357-FC7B-45EC-8C21-5449D2FE7C0B}" destId="{622C6C84-866C-4C52-98AB-D269A78889D3}" srcOrd="5" destOrd="0" parTransId="{B3DCE6D6-214B-4B47-AAB5-F25BF6CC2E2B}" sibTransId="{455476C8-AD4D-4971-9A79-F652712E9664}"/>
    <dgm:cxn modelId="{83CD9306-8DE1-484E-8CCD-A4445ABEDFF7}" type="presOf" srcId="{5E431EEC-9D50-4AFD-932B-16E41C564FF8}" destId="{05674517-8B7E-42E9-9443-D12F2F1D9D3F}" srcOrd="0" destOrd="0" presId="urn:microsoft.com/office/officeart/2005/8/layout/chevron2"/>
    <dgm:cxn modelId="{5C5CC6EF-14F6-4AA8-A9F7-0C6AE2DB0E59}" srcId="{CE1515B0-F544-4A3B-BBCE-D8CDB286A693}" destId="{5E431EEC-9D50-4AFD-932B-16E41C564FF8}" srcOrd="0" destOrd="0" parTransId="{9155533A-DC53-453D-8DFD-04F75832C6A5}" sibTransId="{B691BF11-A753-4F19-9973-DA688F21B9E0}"/>
    <dgm:cxn modelId="{E2074087-1B57-42D7-8A50-E990E4C311D8}" type="presOf" srcId="{3302D424-85BF-43A7-9594-CA2C7A576D04}" destId="{D04C63D7-2936-4648-ADA7-13E9A95AE176}" srcOrd="0" destOrd="0" presId="urn:microsoft.com/office/officeart/2005/8/layout/chevron2"/>
    <dgm:cxn modelId="{B504195F-C14F-47F8-962B-6840B5FD2AA6}" srcId="{E1E35357-FC7B-45EC-8C21-5449D2FE7C0B}" destId="{22E4DBF1-F7C7-4E5A-9DD2-323FCBD794E2}" srcOrd="2" destOrd="0" parTransId="{DEA81149-5DDC-4568-8B11-77B1C35AD37A}" sibTransId="{B06F291D-358B-4A89-B410-E8FD46F0D610}"/>
    <dgm:cxn modelId="{9F5DC8B0-606B-4FF6-8ACF-0663B2BDB85F}" type="presOf" srcId="{8EAFBFB6-8056-4263-BC08-06428A253FC2}" destId="{45553A50-606E-42B0-8A31-1AC6E5129ED0}" srcOrd="0" destOrd="0" presId="urn:microsoft.com/office/officeart/2005/8/layout/chevron2"/>
    <dgm:cxn modelId="{8FC269E9-4B6D-48D8-81E9-69CAD2167B83}" srcId="{E1E35357-FC7B-45EC-8C21-5449D2FE7C0B}" destId="{B7DACFA2-7A5D-45D9-AAA5-FFB5679E7186}" srcOrd="6" destOrd="0" parTransId="{99079A22-9481-4B80-B6F0-A5E45DE5B74B}" sibTransId="{B7644866-E35F-4EF7-A017-51DCAA020243}"/>
    <dgm:cxn modelId="{0902F89D-B78E-4B1E-A8A2-A319D7D6D6D3}" type="presOf" srcId="{2846D631-E4CF-45FC-B1DF-7BA7555D9B67}" destId="{24717552-82C7-41CA-91A3-91C0624AA880}" srcOrd="0" destOrd="0" presId="urn:microsoft.com/office/officeart/2005/8/layout/chevron2"/>
    <dgm:cxn modelId="{8019F246-EA73-43F6-9EBC-25BF164F8939}" srcId="{E1E35357-FC7B-45EC-8C21-5449D2FE7C0B}" destId="{8AFB6D7C-9058-4271-899A-E8A9A27E5EFA}" srcOrd="4" destOrd="0" parTransId="{12B0C9AC-18CA-42A5-99C3-F7225D7F0A2B}" sibTransId="{0FE1656A-6305-4DE0-AFB2-859A0793E412}"/>
    <dgm:cxn modelId="{840E133E-BAC6-4D00-921E-29745D7C6E99}" srcId="{622C6C84-866C-4C52-98AB-D269A78889D3}" destId="{37CE183C-14D5-478C-9E6B-03F42B398613}" srcOrd="0" destOrd="0" parTransId="{12574124-61FA-4742-9EAC-F9C133CFBBED}" sibTransId="{22F56611-7B39-4D29-8F70-16187B460300}"/>
    <dgm:cxn modelId="{96F48590-1308-4E2A-8F30-6CEEE7D8858D}" srcId="{E1E35357-FC7B-45EC-8C21-5449D2FE7C0B}" destId="{45F9DC46-A76D-46F9-B9D0-370739AB8F1C}" srcOrd="0" destOrd="0" parTransId="{3992E04F-18A3-4D9E-B35A-BCA67DFD5651}" sibTransId="{C399BA67-FE49-4D9B-8B48-64180AE42503}"/>
    <dgm:cxn modelId="{6262F8F4-32CB-46C2-9A24-5E71F95BF3CB}" type="presOf" srcId="{12A3F8DB-6112-4EDE-B3DD-2F888A330471}" destId="{6014AF49-9DDC-403B-BDEB-00C80C7F3F8A}" srcOrd="0" destOrd="0" presId="urn:microsoft.com/office/officeart/2005/8/layout/chevron2"/>
    <dgm:cxn modelId="{1E0D4855-3B06-4B02-853A-DA19440A379B}" type="presOf" srcId="{22E4DBF1-F7C7-4E5A-9DD2-323FCBD794E2}" destId="{2B379B85-CDEE-4BF0-B008-D0E83291A6F6}" srcOrd="0" destOrd="0" presId="urn:microsoft.com/office/officeart/2005/8/layout/chevron2"/>
    <dgm:cxn modelId="{D4DD9A5C-6A51-4916-9A76-3D9B27C7A0AD}" type="presOf" srcId="{E1E35357-FC7B-45EC-8C21-5449D2FE7C0B}" destId="{B819FC9B-0FC5-4D04-B68E-BF7107B730AB}" srcOrd="0" destOrd="0" presId="urn:microsoft.com/office/officeart/2005/8/layout/chevron2"/>
    <dgm:cxn modelId="{C03495E8-37A9-4F87-B0E9-74B437961E9B}" type="presOf" srcId="{CE1515B0-F544-4A3B-BBCE-D8CDB286A693}" destId="{5C843378-F7AB-4300-A774-8380F124E7EA}" srcOrd="0" destOrd="0" presId="urn:microsoft.com/office/officeart/2005/8/layout/chevron2"/>
    <dgm:cxn modelId="{4F9254A1-B19C-4FE4-B4F7-DE42D2AD1E7F}" srcId="{22E4DBF1-F7C7-4E5A-9DD2-323FCBD794E2}" destId="{8EAFBFB6-8056-4263-BC08-06428A253FC2}" srcOrd="0" destOrd="0" parTransId="{244206A3-F698-4978-A876-BAE4337AE338}" sibTransId="{9CBA56B7-45F1-4380-BE3F-0C134F822E5F}"/>
    <dgm:cxn modelId="{6CECEEBB-8F71-45DD-B708-3455620549CB}" type="presOf" srcId="{8010AD38-9D84-41B5-B7C3-485A502C8261}" destId="{2405C39B-6A40-40FB-B083-00EEADF78825}" srcOrd="0" destOrd="0" presId="urn:microsoft.com/office/officeart/2005/8/layout/chevron2"/>
    <dgm:cxn modelId="{3C998C9A-6F4E-43D0-8DC1-F6FCCF081A89}" type="presOf" srcId="{37CE183C-14D5-478C-9E6B-03F42B398613}" destId="{A8ED37EC-9AFD-4CD4-BB49-5B9F00FD5960}" srcOrd="0" destOrd="0" presId="urn:microsoft.com/office/officeart/2005/8/layout/chevron2"/>
    <dgm:cxn modelId="{518DF411-8AEA-4AC2-9A9B-43C392FF8CAC}" srcId="{E1E35357-FC7B-45EC-8C21-5449D2FE7C0B}" destId="{8010AD38-9D84-41B5-B7C3-485A502C8261}" srcOrd="1" destOrd="0" parTransId="{EAAD10D1-E72A-482F-90AA-24138698578A}" sibTransId="{18B7B365-B3D9-4D33-9CAA-D839787FC11D}"/>
    <dgm:cxn modelId="{D0317250-92FB-453D-811C-AC48E86EAE29}" type="presParOf" srcId="{B819FC9B-0FC5-4D04-B68E-BF7107B730AB}" destId="{40A7824A-9C0B-401F-99F7-38D29C469BEA}" srcOrd="0" destOrd="0" presId="urn:microsoft.com/office/officeart/2005/8/layout/chevron2"/>
    <dgm:cxn modelId="{B6306851-8BA8-4D20-BB66-297BA14B343B}" type="presParOf" srcId="{40A7824A-9C0B-401F-99F7-38D29C469BEA}" destId="{6E4CCB73-6B2C-4A01-A5DE-89E18FEA916B}" srcOrd="0" destOrd="0" presId="urn:microsoft.com/office/officeart/2005/8/layout/chevron2"/>
    <dgm:cxn modelId="{B8EAE33D-AA61-4622-8490-C9DBD968ED41}" type="presParOf" srcId="{40A7824A-9C0B-401F-99F7-38D29C469BEA}" destId="{24717552-82C7-41CA-91A3-91C0624AA880}" srcOrd="1" destOrd="0" presId="urn:microsoft.com/office/officeart/2005/8/layout/chevron2"/>
    <dgm:cxn modelId="{CCCE4269-C9C8-4390-9D08-190083DF4B65}" type="presParOf" srcId="{B819FC9B-0FC5-4D04-B68E-BF7107B730AB}" destId="{C12E8DD4-E38E-4CD4-BCD7-0855C71CE26B}" srcOrd="1" destOrd="0" presId="urn:microsoft.com/office/officeart/2005/8/layout/chevron2"/>
    <dgm:cxn modelId="{037BB4F3-400B-43BF-8FA3-552739385F66}" type="presParOf" srcId="{B819FC9B-0FC5-4D04-B68E-BF7107B730AB}" destId="{083CD33A-0AF3-47CA-AF27-0B0D8E1D3643}" srcOrd="2" destOrd="0" presId="urn:microsoft.com/office/officeart/2005/8/layout/chevron2"/>
    <dgm:cxn modelId="{A8EA9714-1A62-46F1-9E65-3E6CE0B446E2}" type="presParOf" srcId="{083CD33A-0AF3-47CA-AF27-0B0D8E1D3643}" destId="{2405C39B-6A40-40FB-B083-00EEADF78825}" srcOrd="0" destOrd="0" presId="urn:microsoft.com/office/officeart/2005/8/layout/chevron2"/>
    <dgm:cxn modelId="{C71C84FF-7AF4-41A1-B19A-E046E15F0548}" type="presParOf" srcId="{083CD33A-0AF3-47CA-AF27-0B0D8E1D3643}" destId="{D04C63D7-2936-4648-ADA7-13E9A95AE176}" srcOrd="1" destOrd="0" presId="urn:microsoft.com/office/officeart/2005/8/layout/chevron2"/>
    <dgm:cxn modelId="{93EFCFC8-1DF2-4CAF-A35D-4B79DD3DED26}" type="presParOf" srcId="{B819FC9B-0FC5-4D04-B68E-BF7107B730AB}" destId="{3F57B1DB-F281-469D-9426-AC969B257DA2}" srcOrd="3" destOrd="0" presId="urn:microsoft.com/office/officeart/2005/8/layout/chevron2"/>
    <dgm:cxn modelId="{F0F650DF-AAEC-4BFD-B4A5-08E0E65B0C9A}" type="presParOf" srcId="{B819FC9B-0FC5-4D04-B68E-BF7107B730AB}" destId="{2429BACF-FA12-49B9-A044-B22D358E7EFD}" srcOrd="4" destOrd="0" presId="urn:microsoft.com/office/officeart/2005/8/layout/chevron2"/>
    <dgm:cxn modelId="{76339569-0AD2-425E-8D00-E1D6115326F7}" type="presParOf" srcId="{2429BACF-FA12-49B9-A044-B22D358E7EFD}" destId="{2B379B85-CDEE-4BF0-B008-D0E83291A6F6}" srcOrd="0" destOrd="0" presId="urn:microsoft.com/office/officeart/2005/8/layout/chevron2"/>
    <dgm:cxn modelId="{2838152C-444B-4BCD-9451-1A3C10271897}" type="presParOf" srcId="{2429BACF-FA12-49B9-A044-B22D358E7EFD}" destId="{45553A50-606E-42B0-8A31-1AC6E5129ED0}" srcOrd="1" destOrd="0" presId="urn:microsoft.com/office/officeart/2005/8/layout/chevron2"/>
    <dgm:cxn modelId="{28DDB07A-1336-4777-98EA-8CEFC913425A}" type="presParOf" srcId="{B819FC9B-0FC5-4D04-B68E-BF7107B730AB}" destId="{D12BAA98-B066-4782-B0F7-1D99C3E309AC}" srcOrd="5" destOrd="0" presId="urn:microsoft.com/office/officeart/2005/8/layout/chevron2"/>
    <dgm:cxn modelId="{00FD786B-3E26-4641-9329-1DEC4A6A006B}" type="presParOf" srcId="{B819FC9B-0FC5-4D04-B68E-BF7107B730AB}" destId="{068BE70B-6459-4E6F-8181-EA5ABE83E688}" srcOrd="6" destOrd="0" presId="urn:microsoft.com/office/officeart/2005/8/layout/chevron2"/>
    <dgm:cxn modelId="{ED29E69D-A8B5-4B0D-9F2C-912758FB5459}" type="presParOf" srcId="{068BE70B-6459-4E6F-8181-EA5ABE83E688}" destId="{5C843378-F7AB-4300-A774-8380F124E7EA}" srcOrd="0" destOrd="0" presId="urn:microsoft.com/office/officeart/2005/8/layout/chevron2"/>
    <dgm:cxn modelId="{6908A444-8B70-4B50-8CBD-211604859E7D}" type="presParOf" srcId="{068BE70B-6459-4E6F-8181-EA5ABE83E688}" destId="{05674517-8B7E-42E9-9443-D12F2F1D9D3F}" srcOrd="1" destOrd="0" presId="urn:microsoft.com/office/officeart/2005/8/layout/chevron2"/>
    <dgm:cxn modelId="{FF0675A6-76AC-47DE-A4BD-4B510849B385}" type="presParOf" srcId="{B819FC9B-0FC5-4D04-B68E-BF7107B730AB}" destId="{8F59401C-9DFD-4A8E-97F9-21E9E137A3C6}" srcOrd="7" destOrd="0" presId="urn:microsoft.com/office/officeart/2005/8/layout/chevron2"/>
    <dgm:cxn modelId="{AF4687CF-84CC-44F0-AF08-18DAB0D34AC2}" type="presParOf" srcId="{B819FC9B-0FC5-4D04-B68E-BF7107B730AB}" destId="{3120330B-2CAC-41AB-99E3-8E121A9714BC}" srcOrd="8" destOrd="0" presId="urn:microsoft.com/office/officeart/2005/8/layout/chevron2"/>
    <dgm:cxn modelId="{82FC46E0-86F5-4504-BAD5-A1828681BBF4}" type="presParOf" srcId="{3120330B-2CAC-41AB-99E3-8E121A9714BC}" destId="{9BE63CFF-DC23-43CB-BF0B-8858D9FC260D}" srcOrd="0" destOrd="0" presId="urn:microsoft.com/office/officeart/2005/8/layout/chevron2"/>
    <dgm:cxn modelId="{55B63A65-DC60-4BC5-9319-C130A5EAD37D}" type="presParOf" srcId="{3120330B-2CAC-41AB-99E3-8E121A9714BC}" destId="{6014AF49-9DDC-403B-BDEB-00C80C7F3F8A}" srcOrd="1" destOrd="0" presId="urn:microsoft.com/office/officeart/2005/8/layout/chevron2"/>
    <dgm:cxn modelId="{0E6145AA-71FA-47CB-95BD-44F721F43973}" type="presParOf" srcId="{B819FC9B-0FC5-4D04-B68E-BF7107B730AB}" destId="{DA5E1BF8-B376-4FAF-9218-51888B1F1A24}" srcOrd="9" destOrd="0" presId="urn:microsoft.com/office/officeart/2005/8/layout/chevron2"/>
    <dgm:cxn modelId="{0C57E17D-4DB0-42A9-868A-D45C7E1A4D6E}" type="presParOf" srcId="{B819FC9B-0FC5-4D04-B68E-BF7107B730AB}" destId="{4C99CCFD-636C-4B5D-A787-C98A209C16A6}" srcOrd="10" destOrd="0" presId="urn:microsoft.com/office/officeart/2005/8/layout/chevron2"/>
    <dgm:cxn modelId="{7E389512-3EEF-49DF-88B2-78E0CEB71DF8}" type="presParOf" srcId="{4C99CCFD-636C-4B5D-A787-C98A209C16A6}" destId="{2E33BCFF-BBC5-439B-9CC3-F1D64156F1FC}" srcOrd="0" destOrd="0" presId="urn:microsoft.com/office/officeart/2005/8/layout/chevron2"/>
    <dgm:cxn modelId="{8E72A16C-4F6A-4C00-985F-8E7C048E1B26}" type="presParOf" srcId="{4C99CCFD-636C-4B5D-A787-C98A209C16A6}" destId="{A8ED37EC-9AFD-4CD4-BB49-5B9F00FD5960}" srcOrd="1" destOrd="0" presId="urn:microsoft.com/office/officeart/2005/8/layout/chevron2"/>
    <dgm:cxn modelId="{53E2606D-56D7-439D-AEE1-54BA6875032F}" type="presParOf" srcId="{B819FC9B-0FC5-4D04-B68E-BF7107B730AB}" destId="{A71EEA61-D637-4242-82F2-F98150A0F8D2}" srcOrd="11" destOrd="0" presId="urn:microsoft.com/office/officeart/2005/8/layout/chevron2"/>
    <dgm:cxn modelId="{9D1DF258-AE02-4F77-95D4-AD448518E2AD}" type="presParOf" srcId="{B819FC9B-0FC5-4D04-B68E-BF7107B730AB}" destId="{C9A59497-2C50-43F1-A411-8515AC2BE4D4}" srcOrd="12" destOrd="0" presId="urn:microsoft.com/office/officeart/2005/8/layout/chevron2"/>
    <dgm:cxn modelId="{AB38D607-FBEC-4ED2-AF2F-D2ED5F9E5707}" type="presParOf" srcId="{C9A59497-2C50-43F1-A411-8515AC2BE4D4}" destId="{AAFF8D8B-A020-4FAF-8C56-F6E439BC303D}" srcOrd="0" destOrd="0" presId="urn:microsoft.com/office/officeart/2005/8/layout/chevron2"/>
    <dgm:cxn modelId="{BAD6BF93-3A9D-4E74-896F-F7785A535BB2}" type="presParOf" srcId="{C9A59497-2C50-43F1-A411-8515AC2BE4D4}" destId="{55DBC107-3F47-405B-BA59-C0CB213EA7C3}" srcOrd="1" destOrd="0" presId="urn:microsoft.com/office/officeart/2005/8/layout/chevron2"/>
  </dgm:cxnLst>
  <dgm:bg>
    <a:noFill/>
  </dgm:bg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4CCB73-6B2C-4A01-A5DE-89E18FEA916B}">
      <dsp:nvSpPr>
        <dsp:cNvPr id="0" name=""/>
        <dsp:cNvSpPr/>
      </dsp:nvSpPr>
      <dsp:spPr>
        <a:xfrm rot="5400000">
          <a:off x="-104558" y="104558"/>
          <a:ext cx="697058" cy="487940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Arial" pitchFamily="34" charset="0"/>
              <a:cs typeface="Arial" pitchFamily="34" charset="0"/>
            </a:rPr>
            <a:t>1</a:t>
          </a:r>
        </a:p>
      </dsp:txBody>
      <dsp:txXfrm rot="-5400000">
        <a:off x="1" y="243969"/>
        <a:ext cx="487940" cy="209118"/>
      </dsp:txXfrm>
    </dsp:sp>
    <dsp:sp modelId="{24717552-82C7-41CA-91A3-91C0624AA880}">
      <dsp:nvSpPr>
        <dsp:cNvPr id="0" name=""/>
        <dsp:cNvSpPr/>
      </dsp:nvSpPr>
      <dsp:spPr>
        <a:xfrm rot="5400000">
          <a:off x="3827307" y="-3332833"/>
          <a:ext cx="453326" cy="713205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b="1" kern="1200" dirty="0">
              <a:latin typeface="Arial" pitchFamily="34" charset="0"/>
              <a:cs typeface="Arial" pitchFamily="34" charset="0"/>
            </a:rPr>
            <a:t>Study of basics of robotics &amp; planning for Industrial visit</a:t>
          </a:r>
        </a:p>
      </dsp:txBody>
      <dsp:txXfrm rot="-5400000">
        <a:off x="487941" y="28663"/>
        <a:ext cx="7109929" cy="409066"/>
      </dsp:txXfrm>
    </dsp:sp>
    <dsp:sp modelId="{2405C39B-6A40-40FB-B083-00EEADF78825}">
      <dsp:nvSpPr>
        <dsp:cNvPr id="0" name=""/>
        <dsp:cNvSpPr/>
      </dsp:nvSpPr>
      <dsp:spPr>
        <a:xfrm rot="5400000">
          <a:off x="-104558" y="727014"/>
          <a:ext cx="697058" cy="487940"/>
        </a:xfrm>
        <a:prstGeom prst="chevron">
          <a:avLst/>
        </a:prstGeom>
        <a:solidFill>
          <a:schemeClr val="accent5">
            <a:hueOff val="-1655646"/>
            <a:satOff val="6635"/>
            <a:lumOff val="1438"/>
            <a:alphaOff val="0"/>
          </a:schemeClr>
        </a:solidFill>
        <a:ln w="25400" cap="flat" cmpd="sng" algn="ctr">
          <a:solidFill>
            <a:schemeClr val="accent5">
              <a:hueOff val="-1655646"/>
              <a:satOff val="6635"/>
              <a:lumOff val="143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Arial" pitchFamily="34" charset="0"/>
              <a:cs typeface="Arial" pitchFamily="34" charset="0"/>
            </a:rPr>
            <a:t>2</a:t>
          </a:r>
        </a:p>
      </dsp:txBody>
      <dsp:txXfrm rot="-5400000">
        <a:off x="1" y="866425"/>
        <a:ext cx="487940" cy="209118"/>
      </dsp:txXfrm>
    </dsp:sp>
    <dsp:sp modelId="{D04C63D7-2936-4648-ADA7-13E9A95AE176}">
      <dsp:nvSpPr>
        <dsp:cNvPr id="0" name=""/>
        <dsp:cNvSpPr/>
      </dsp:nvSpPr>
      <dsp:spPr>
        <a:xfrm rot="5400000">
          <a:off x="3827426" y="-2717030"/>
          <a:ext cx="453088" cy="713205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1655646"/>
              <a:satOff val="6635"/>
              <a:lumOff val="143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400" b="1" i="0" u="none" kern="1200">
              <a:latin typeface="Arial" pitchFamily="34" charset="0"/>
              <a:cs typeface="Arial" pitchFamily="34" charset="0"/>
            </a:rPr>
            <a:t>Prepration of Bill Of maetrial for required parts.</a:t>
          </a:r>
          <a:endParaRPr lang="en-US" sz="1400" b="1" kern="1200">
            <a:latin typeface="Arial" pitchFamily="34" charset="0"/>
            <a:cs typeface="Arial" pitchFamily="34" charset="0"/>
          </a:endParaRPr>
        </a:p>
      </dsp:txBody>
      <dsp:txXfrm rot="-5400000">
        <a:off x="487941" y="644573"/>
        <a:ext cx="7109941" cy="408852"/>
      </dsp:txXfrm>
    </dsp:sp>
    <dsp:sp modelId="{2B379B85-CDEE-4BF0-B008-D0E83291A6F6}">
      <dsp:nvSpPr>
        <dsp:cNvPr id="0" name=""/>
        <dsp:cNvSpPr/>
      </dsp:nvSpPr>
      <dsp:spPr>
        <a:xfrm rot="5400000">
          <a:off x="-104558" y="1342936"/>
          <a:ext cx="697058" cy="487940"/>
        </a:xfrm>
        <a:prstGeom prst="chevron">
          <a:avLst/>
        </a:prstGeom>
        <a:solidFill>
          <a:schemeClr val="accent5">
            <a:hueOff val="-3311292"/>
            <a:satOff val="13270"/>
            <a:lumOff val="2876"/>
            <a:alphaOff val="0"/>
          </a:schemeClr>
        </a:solidFill>
        <a:ln w="25400" cap="flat" cmpd="sng" algn="ctr">
          <a:solidFill>
            <a:schemeClr val="accent5">
              <a:hueOff val="-3311292"/>
              <a:satOff val="13270"/>
              <a:lumOff val="287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Arial" pitchFamily="34" charset="0"/>
              <a:cs typeface="Arial" pitchFamily="34" charset="0"/>
            </a:rPr>
            <a:t>3</a:t>
          </a:r>
        </a:p>
      </dsp:txBody>
      <dsp:txXfrm rot="-5400000">
        <a:off x="1" y="1482347"/>
        <a:ext cx="487940" cy="209118"/>
      </dsp:txXfrm>
    </dsp:sp>
    <dsp:sp modelId="{45553A50-606E-42B0-8A31-1AC6E5129ED0}">
      <dsp:nvSpPr>
        <dsp:cNvPr id="0" name=""/>
        <dsp:cNvSpPr/>
      </dsp:nvSpPr>
      <dsp:spPr>
        <a:xfrm rot="5400000">
          <a:off x="3820793" y="-2129420"/>
          <a:ext cx="453088" cy="713205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3311292"/>
              <a:satOff val="13270"/>
              <a:lumOff val="287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400" b="1" kern="1200" dirty="0">
              <a:latin typeface="Arial" pitchFamily="34" charset="0"/>
              <a:cs typeface="Arial" pitchFamily="34" charset="0"/>
            </a:rPr>
            <a:t>Prepare 3D  models for support brackets &amp; Pen holder.</a:t>
          </a:r>
          <a:endParaRPr lang="en-US" sz="1400" b="1" kern="1200" dirty="0">
            <a:latin typeface="Arial" pitchFamily="34" charset="0"/>
            <a:cs typeface="Arial" pitchFamily="34" charset="0"/>
          </a:endParaRPr>
        </a:p>
      </dsp:txBody>
      <dsp:txXfrm rot="-5400000">
        <a:off x="481308" y="1232183"/>
        <a:ext cx="7109941" cy="408852"/>
      </dsp:txXfrm>
    </dsp:sp>
    <dsp:sp modelId="{5C843378-F7AB-4300-A774-8380F124E7EA}">
      <dsp:nvSpPr>
        <dsp:cNvPr id="0" name=""/>
        <dsp:cNvSpPr/>
      </dsp:nvSpPr>
      <dsp:spPr>
        <a:xfrm rot="5400000">
          <a:off x="-104558" y="2053045"/>
          <a:ext cx="697058" cy="487940"/>
        </a:xfrm>
        <a:prstGeom prst="chevron">
          <a:avLst/>
        </a:prstGeom>
        <a:solidFill>
          <a:schemeClr val="accent5">
            <a:hueOff val="-4966938"/>
            <a:satOff val="19906"/>
            <a:lumOff val="4314"/>
            <a:alphaOff val="0"/>
          </a:schemeClr>
        </a:solidFill>
        <a:ln w="25400" cap="flat" cmpd="sng" algn="ctr">
          <a:solidFill>
            <a:schemeClr val="accent5">
              <a:hueOff val="-4966938"/>
              <a:satOff val="19906"/>
              <a:lumOff val="431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kern="1200">
              <a:latin typeface="Arial" pitchFamily="34" charset="0"/>
              <a:cs typeface="Arial" pitchFamily="34" charset="0"/>
            </a:rPr>
            <a:t>4</a:t>
          </a:r>
        </a:p>
      </dsp:txBody>
      <dsp:txXfrm rot="-5400000">
        <a:off x="1" y="2192456"/>
        <a:ext cx="487940" cy="209118"/>
      </dsp:txXfrm>
    </dsp:sp>
    <dsp:sp modelId="{05674517-8B7E-42E9-9443-D12F2F1D9D3F}">
      <dsp:nvSpPr>
        <dsp:cNvPr id="0" name=""/>
        <dsp:cNvSpPr/>
      </dsp:nvSpPr>
      <dsp:spPr>
        <a:xfrm rot="5400000">
          <a:off x="3733240" y="-1390999"/>
          <a:ext cx="641459" cy="713205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4966938"/>
              <a:satOff val="19906"/>
              <a:lumOff val="431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400" b="1" kern="1200" dirty="0"/>
            <a:t>Understanding the various </a:t>
          </a:r>
          <a:r>
            <a:rPr lang="en-IN" sz="1400" b="1" kern="1200" dirty="0" smtClean="0"/>
            <a:t>software's </a:t>
          </a:r>
          <a:r>
            <a:rPr lang="en-IN" sz="1400" b="1" kern="1200" dirty="0"/>
            <a:t>like 3D </a:t>
          </a:r>
          <a:r>
            <a:rPr lang="en-IN" sz="1400" b="1" kern="1200" dirty="0" smtClean="0"/>
            <a:t>Printing </a:t>
          </a:r>
          <a:r>
            <a:rPr lang="en-IN" sz="1400" b="1" kern="1200" dirty="0"/>
            <a:t>software </a:t>
          </a:r>
          <a:r>
            <a:rPr lang="en-IN" sz="1400" b="1" kern="1200" dirty="0" smtClean="0"/>
            <a:t>(</a:t>
          </a:r>
          <a:r>
            <a:rPr lang="en-IN" sz="1400" b="1" kern="1200" dirty="0" err="1" smtClean="0"/>
            <a:t>Ultimaker</a:t>
          </a:r>
          <a:r>
            <a:rPr lang="en-IN" sz="1400" b="1" kern="1200" dirty="0" smtClean="0"/>
            <a:t> </a:t>
          </a:r>
          <a:r>
            <a:rPr lang="en-IN" sz="1400" b="1" kern="1200" dirty="0"/>
            <a:t>cura), programming </a:t>
          </a:r>
          <a:r>
            <a:rPr lang="en-IN" sz="1400" b="1" kern="1200" dirty="0" smtClean="0"/>
            <a:t>software</a:t>
          </a:r>
          <a:r>
            <a:rPr lang="en-IN" sz="1400" kern="1200" dirty="0" smtClean="0"/>
            <a:t>.</a:t>
          </a:r>
          <a:endParaRPr lang="en-IN" sz="1400" kern="1200" dirty="0"/>
        </a:p>
      </dsp:txBody>
      <dsp:txXfrm rot="-5400000">
        <a:off x="487941" y="1885613"/>
        <a:ext cx="7100746" cy="578833"/>
      </dsp:txXfrm>
    </dsp:sp>
    <dsp:sp modelId="{9BE63CFF-DC23-43CB-BF0B-8858D9FC260D}">
      <dsp:nvSpPr>
        <dsp:cNvPr id="0" name=""/>
        <dsp:cNvSpPr/>
      </dsp:nvSpPr>
      <dsp:spPr>
        <a:xfrm rot="5400000">
          <a:off x="-104558" y="2668967"/>
          <a:ext cx="697058" cy="487940"/>
        </a:xfrm>
        <a:prstGeom prst="chevron">
          <a:avLst/>
        </a:prstGeom>
        <a:solidFill>
          <a:schemeClr val="accent5">
            <a:hueOff val="-6622584"/>
            <a:satOff val="26541"/>
            <a:lumOff val="5752"/>
            <a:alphaOff val="0"/>
          </a:schemeClr>
        </a:solidFill>
        <a:ln w="25400" cap="flat" cmpd="sng" algn="ctr">
          <a:solidFill>
            <a:schemeClr val="accent5">
              <a:hueOff val="-6622584"/>
              <a:satOff val="26541"/>
              <a:lumOff val="575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/>
            <a:t>5</a:t>
          </a:r>
        </a:p>
      </dsp:txBody>
      <dsp:txXfrm rot="-5400000">
        <a:off x="1" y="2808378"/>
        <a:ext cx="487940" cy="209118"/>
      </dsp:txXfrm>
    </dsp:sp>
    <dsp:sp modelId="{6014AF49-9DDC-403B-BDEB-00C80C7F3F8A}">
      <dsp:nvSpPr>
        <dsp:cNvPr id="0" name=""/>
        <dsp:cNvSpPr/>
      </dsp:nvSpPr>
      <dsp:spPr>
        <a:xfrm rot="5400000">
          <a:off x="3863501" y="-705300"/>
          <a:ext cx="380938" cy="713205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6622584"/>
              <a:satOff val="26541"/>
              <a:lumOff val="575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400" b="1" kern="1200"/>
            <a:t>Receipt of materials along with hardwares</a:t>
          </a:r>
        </a:p>
      </dsp:txBody>
      <dsp:txXfrm rot="-5400000">
        <a:off x="487941" y="2688856"/>
        <a:ext cx="7113463" cy="343746"/>
      </dsp:txXfrm>
    </dsp:sp>
    <dsp:sp modelId="{2E33BCFF-BBC5-439B-9CC3-F1D64156F1FC}">
      <dsp:nvSpPr>
        <dsp:cNvPr id="0" name=""/>
        <dsp:cNvSpPr/>
      </dsp:nvSpPr>
      <dsp:spPr>
        <a:xfrm rot="5400000">
          <a:off x="-104558" y="3284890"/>
          <a:ext cx="697058" cy="487940"/>
        </a:xfrm>
        <a:prstGeom prst="chevron">
          <a:avLst/>
        </a:prstGeom>
        <a:solidFill>
          <a:schemeClr val="accent5">
            <a:hueOff val="-8278230"/>
            <a:satOff val="33176"/>
            <a:lumOff val="7190"/>
            <a:alphaOff val="0"/>
          </a:schemeClr>
        </a:solidFill>
        <a:ln w="25400" cap="flat" cmpd="sng" algn="ctr">
          <a:solidFill>
            <a:schemeClr val="accent5">
              <a:hueOff val="-8278230"/>
              <a:satOff val="33176"/>
              <a:lumOff val="719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/>
            <a:t>6</a:t>
          </a:r>
          <a:endParaRPr lang="en-IN" sz="1100" kern="1200"/>
        </a:p>
      </dsp:txBody>
      <dsp:txXfrm rot="-5400000">
        <a:off x="1" y="3424301"/>
        <a:ext cx="487940" cy="209118"/>
      </dsp:txXfrm>
    </dsp:sp>
    <dsp:sp modelId="{A8ED37EC-9AFD-4CD4-BB49-5B9F00FD5960}">
      <dsp:nvSpPr>
        <dsp:cNvPr id="0" name=""/>
        <dsp:cNvSpPr/>
      </dsp:nvSpPr>
      <dsp:spPr>
        <a:xfrm rot="5400000">
          <a:off x="3827426" y="-79410"/>
          <a:ext cx="453088" cy="713205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8278230"/>
              <a:satOff val="33176"/>
              <a:lumOff val="719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400" b="1" kern="1200" dirty="0"/>
            <a:t>Building prototype for trial purpose, final assembly on board</a:t>
          </a:r>
        </a:p>
      </dsp:txBody>
      <dsp:txXfrm rot="-5400000">
        <a:off x="487941" y="3282193"/>
        <a:ext cx="7109941" cy="408852"/>
      </dsp:txXfrm>
    </dsp:sp>
    <dsp:sp modelId="{AAFF8D8B-A020-4FAF-8C56-F6E439BC303D}">
      <dsp:nvSpPr>
        <dsp:cNvPr id="0" name=""/>
        <dsp:cNvSpPr/>
      </dsp:nvSpPr>
      <dsp:spPr>
        <a:xfrm rot="5400000">
          <a:off x="-104558" y="4003129"/>
          <a:ext cx="697058" cy="487940"/>
        </a:xfrm>
        <a:prstGeom prst="chevron">
          <a:avLst/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accent5">
              <a:hueOff val="-9933876"/>
              <a:satOff val="39811"/>
              <a:lumOff val="862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/>
            <a:t>7</a:t>
          </a:r>
        </a:p>
      </dsp:txBody>
      <dsp:txXfrm rot="-5400000">
        <a:off x="1" y="4142540"/>
        <a:ext cx="487940" cy="209118"/>
      </dsp:txXfrm>
    </dsp:sp>
    <dsp:sp modelId="{55DBC107-3F47-405B-BA59-C0CB213EA7C3}">
      <dsp:nvSpPr>
        <dsp:cNvPr id="0" name=""/>
        <dsp:cNvSpPr/>
      </dsp:nvSpPr>
      <dsp:spPr>
        <a:xfrm rot="5400000">
          <a:off x="3725110" y="579021"/>
          <a:ext cx="657720" cy="713205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9933876"/>
              <a:satOff val="39811"/>
              <a:lumOff val="862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400" b="1" kern="1200" dirty="0"/>
            <a:t>Check for </a:t>
          </a:r>
          <a:r>
            <a:rPr lang="en-IN" sz="1400" b="1" kern="1200" dirty="0" smtClean="0"/>
            <a:t>source codes </a:t>
          </a:r>
          <a:r>
            <a:rPr lang="en-IN" sz="1400" b="1" kern="1200" dirty="0"/>
            <a:t>&amp; machine settings, uploading image for testing working of robot.</a:t>
          </a:r>
        </a:p>
      </dsp:txBody>
      <dsp:txXfrm rot="-5400000">
        <a:off x="487941" y="3848298"/>
        <a:ext cx="7099952" cy="5935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3CA3B6-2755-4399-9EC8-CE3639D06C83}" type="datetimeFigureOut">
              <a:rPr lang="en-US" smtClean="0"/>
              <a:pPr/>
              <a:t>11/20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1FDA0-3BCB-4798-AED0-671787C744EF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48DDF294-755D-4E01-AE65-C38D46C7DCD3}" type="slidenum">
              <a:rPr lang="en-US" smtClean="0">
                <a:latin typeface="Arial" charset="0"/>
              </a:rPr>
              <a:pPr/>
              <a:t>1</a:t>
            </a:fld>
            <a:endParaRPr lang="en-US">
              <a:latin typeface="Arial" charset="0"/>
            </a:endParaRPr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2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20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20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20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2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E78EF-1244-4E38-A74B-AD87483EAF68}" type="datetimeFigureOut">
              <a:rPr lang="en-US" smtClean="0"/>
              <a:pPr/>
              <a:t>11/2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2E78EF-1244-4E38-A74B-AD87483EAF68}" type="datetimeFigureOut">
              <a:rPr lang="en-US" smtClean="0"/>
              <a:pPr/>
              <a:t>11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CD4AB8-6181-4A36-855C-CDDF1FE76F0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9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2.jpeg"/><Relationship Id="rId4" Type="http://schemas.microsoft.com/office/2007/relationships/hdphoto" Target="../media/hdphoto1.wdp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6">
                <a:lumMod val="20000"/>
                <a:lumOff val="80000"/>
              </a:schemeClr>
            </a:gs>
            <a:gs pos="46000">
              <a:schemeClr val="accent5">
                <a:lumMod val="45000"/>
                <a:lumOff val="55000"/>
              </a:schemeClr>
            </a:gs>
            <a:gs pos="63000">
              <a:schemeClr val="accent5">
                <a:lumMod val="45000"/>
                <a:lumOff val="55000"/>
              </a:schemeClr>
            </a:gs>
            <a:gs pos="76000">
              <a:schemeClr val="accent5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5"/>
          <p:cNvSpPr>
            <a:spLocks noChangeArrowheads="1"/>
          </p:cNvSpPr>
          <p:nvPr/>
        </p:nvSpPr>
        <p:spPr bwMode="auto">
          <a:xfrm>
            <a:off x="152400" y="767013"/>
            <a:ext cx="8991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3600" b="1" dirty="0">
                <a:solidFill>
                  <a:schemeClr val="accent3">
                    <a:lumMod val="75000"/>
                  </a:schemeClr>
                </a:solidFill>
              </a:rPr>
              <a:t> Dr. D. Y. Patil Institute of Technology , Pimpri </a:t>
            </a:r>
            <a:endParaRPr lang="en-US" sz="4800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2054" name="Rectangle 8"/>
          <p:cNvSpPr>
            <a:spLocks noChangeArrowheads="1"/>
          </p:cNvSpPr>
          <p:nvPr/>
        </p:nvSpPr>
        <p:spPr bwMode="auto">
          <a:xfrm>
            <a:off x="152400" y="1524001"/>
            <a:ext cx="8991600" cy="5269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marL="365125" lvl="0" indent="-255587" algn="ctr" eaLnBrk="1" latinLnBrk="1" hangingPunct="1">
              <a:buFontTx/>
              <a:buNone/>
            </a:pPr>
            <a:r>
              <a:rPr lang="en-US" altLang="en-US" sz="2400" b="1" dirty="0">
                <a:latin typeface="Times New Roman" pitchFamily="18" charset="0"/>
                <a:ea typeface="Times New Roman" pitchFamily="18" charset="0"/>
              </a:rPr>
              <a:t>Presented by (Group No. 14)</a:t>
            </a:r>
          </a:p>
          <a:p>
            <a:pPr marL="365125" lvl="0" indent="-255587" algn="ctr" eaLnBrk="1" latinLnBrk="1" hangingPunct="1">
              <a:buFontTx/>
              <a:buNone/>
            </a:pPr>
            <a:r>
              <a:rPr lang="en-US" altLang="en-US" sz="2200" dirty="0" err="1">
                <a:latin typeface="Times New Roman" pitchFamily="18" charset="0"/>
                <a:ea typeface="Times New Roman" pitchFamily="18" charset="0"/>
              </a:rPr>
              <a:t>Mr.Shashank</a:t>
            </a:r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 Sameer Joshi (Roll No. BMHC03)</a:t>
            </a:r>
          </a:p>
          <a:p>
            <a:pPr marL="365125" indent="-255587" algn="ctr" latinLnBrk="1"/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Mr. </a:t>
            </a:r>
            <a:r>
              <a:rPr lang="en-IN" altLang="en-US" sz="2200" dirty="0" err="1">
                <a:latin typeface="Times New Roman" pitchFamily="18" charset="0"/>
              </a:rPr>
              <a:t>Dineshkumar</a:t>
            </a:r>
            <a:r>
              <a:rPr lang="en-IN" altLang="en-US" sz="2200" dirty="0">
                <a:latin typeface="Times New Roman" pitchFamily="18" charset="0"/>
              </a:rPr>
              <a:t> </a:t>
            </a:r>
            <a:r>
              <a:rPr lang="en-IN" altLang="en-US" sz="2200" dirty="0" err="1">
                <a:latin typeface="Times New Roman" pitchFamily="18" charset="0"/>
              </a:rPr>
              <a:t>Dhanappa</a:t>
            </a:r>
            <a:r>
              <a:rPr lang="en-IN" altLang="en-US" sz="2200" dirty="0">
                <a:latin typeface="Times New Roman" pitchFamily="18" charset="0"/>
              </a:rPr>
              <a:t> </a:t>
            </a:r>
            <a:r>
              <a:rPr lang="en-IN" altLang="en-US" sz="2200" dirty="0" err="1">
                <a:latin typeface="Times New Roman" pitchFamily="18" charset="0"/>
              </a:rPr>
              <a:t>Vhankade</a:t>
            </a:r>
            <a:r>
              <a:rPr lang="en-IN" altLang="en-US" sz="2200" dirty="0">
                <a:latin typeface="Times New Roman" pitchFamily="18" charset="0"/>
              </a:rPr>
              <a:t> (</a:t>
            </a:r>
            <a:r>
              <a:rPr lang="en-US" altLang="en-US" sz="2200" dirty="0">
                <a:latin typeface="Times New Roman" pitchFamily="18" charset="0"/>
              </a:rPr>
              <a:t>Roll No.</a:t>
            </a:r>
            <a:r>
              <a:rPr lang="en-IN" altLang="en-US" sz="2200" dirty="0">
                <a:latin typeface="Times New Roman" pitchFamily="18" charset="0"/>
              </a:rPr>
              <a:t>BMHC04</a:t>
            </a:r>
            <a:r>
              <a:rPr lang="en-US" altLang="en-US" sz="2200" dirty="0">
                <a:latin typeface="Times New Roman" pitchFamily="18" charset="0"/>
              </a:rPr>
              <a:t>) </a:t>
            </a:r>
          </a:p>
          <a:p>
            <a:pPr marL="365125" lvl="0" indent="-255587" algn="ctr" eaLnBrk="1" latinLnBrk="1" hangingPunct="1">
              <a:buFontTx/>
              <a:buNone/>
            </a:pPr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Miss. Sneha </a:t>
            </a:r>
            <a:r>
              <a:rPr lang="en-US" altLang="en-US" sz="2200" dirty="0" err="1">
                <a:latin typeface="Times New Roman" pitchFamily="18" charset="0"/>
                <a:ea typeface="Times New Roman" pitchFamily="18" charset="0"/>
              </a:rPr>
              <a:t>Vitthal</a:t>
            </a:r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 Koli (Roll No. BMHC07)</a:t>
            </a:r>
          </a:p>
          <a:p>
            <a:pPr marL="365125" indent="-255587" algn="ctr" latinLnBrk="1"/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Miss. </a:t>
            </a:r>
            <a:r>
              <a:rPr lang="en-US" altLang="en-US" sz="2200" dirty="0" err="1">
                <a:latin typeface="Times New Roman" pitchFamily="18" charset="0"/>
                <a:ea typeface="Times New Roman" pitchFamily="18" charset="0"/>
              </a:rPr>
              <a:t>Kirtee</a:t>
            </a:r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 </a:t>
            </a:r>
            <a:r>
              <a:rPr lang="en-US" altLang="en-US" sz="2200" dirty="0" err="1">
                <a:latin typeface="Times New Roman" pitchFamily="18" charset="0"/>
                <a:ea typeface="Times New Roman" pitchFamily="18" charset="0"/>
              </a:rPr>
              <a:t>Pralhad</a:t>
            </a:r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 </a:t>
            </a:r>
            <a:r>
              <a:rPr lang="en-US" altLang="en-US" sz="2200" dirty="0" err="1">
                <a:latin typeface="Times New Roman" pitchFamily="18" charset="0"/>
                <a:ea typeface="Times New Roman" pitchFamily="18" charset="0"/>
              </a:rPr>
              <a:t>Dubal</a:t>
            </a:r>
            <a:r>
              <a:rPr lang="en-US" altLang="en-US" sz="2200" dirty="0">
                <a:latin typeface="Times New Roman" pitchFamily="18" charset="0"/>
                <a:ea typeface="Times New Roman" pitchFamily="18" charset="0"/>
              </a:rPr>
              <a:t> (Roll No.BMHC11)</a:t>
            </a:r>
          </a:p>
          <a:p>
            <a:pPr marL="365125" lvl="0" indent="-255587" algn="ctr" eaLnBrk="1" latinLnBrk="1" hangingPunct="1">
              <a:buFontTx/>
              <a:buNone/>
            </a:pPr>
            <a:endParaRPr lang="en-US" altLang="en-US" sz="2200" dirty="0">
              <a:latin typeface="Times New Roman" pitchFamily="18" charset="0"/>
              <a:ea typeface="Times New Roman" pitchFamily="18" charset="0"/>
            </a:endParaRPr>
          </a:p>
          <a:p>
            <a:pPr marL="0" lvl="0" indent="0" algn="ctr" eaLnBrk="1" latinLnBrk="1" hangingPunct="1">
              <a:spcBef>
                <a:spcPct val="20000"/>
              </a:spcBef>
              <a:buSzPct val="100000"/>
              <a:buFontTx/>
              <a:buNone/>
            </a:pPr>
            <a:r>
              <a:rPr lang="en-US" altLang="en-US" sz="2400" b="1" dirty="0">
                <a:latin typeface="Times New Roman" pitchFamily="18" charset="0"/>
                <a:ea typeface="Times New Roman" pitchFamily="18" charset="0"/>
              </a:rPr>
              <a:t>Under the Guidance of</a:t>
            </a:r>
          </a:p>
          <a:p>
            <a:pPr marL="0" lvl="0" indent="0" algn="ctr" eaLnBrk="1" latinLnBrk="1" hangingPunct="1">
              <a:spcBef>
                <a:spcPct val="20000"/>
              </a:spcBef>
              <a:buSzPct val="100000"/>
              <a:buFontTx/>
              <a:buNone/>
            </a:pPr>
            <a:r>
              <a:rPr lang="en-US" altLang="en-US" sz="2400" dirty="0">
                <a:latin typeface="Times New Roman" pitchFamily="18" charset="0"/>
                <a:ea typeface="Times New Roman" pitchFamily="18" charset="0"/>
              </a:rPr>
              <a:t>Dr. </a:t>
            </a:r>
            <a:r>
              <a:rPr lang="en-US" altLang="en-US" sz="2400" dirty="0" err="1">
                <a:latin typeface="Times New Roman" pitchFamily="18" charset="0"/>
                <a:ea typeface="Times New Roman" pitchFamily="18" charset="0"/>
              </a:rPr>
              <a:t>Sumit</a:t>
            </a:r>
            <a:r>
              <a:rPr lang="en-US" altLang="en-US" sz="2400" dirty="0">
                <a:latin typeface="Times New Roman" pitchFamily="18" charset="0"/>
                <a:ea typeface="Times New Roman" pitchFamily="18" charset="0"/>
              </a:rPr>
              <a:t> Desai</a:t>
            </a:r>
          </a:p>
          <a:p>
            <a:pPr marL="0" lvl="0" indent="0" algn="ctr" eaLnBrk="1" latinLnBrk="1" hangingPunct="1">
              <a:spcBef>
                <a:spcPct val="20000"/>
              </a:spcBef>
              <a:buSzPct val="100000"/>
              <a:buFontTx/>
              <a:buNone/>
            </a:pPr>
            <a:endParaRPr lang="en-US" altLang="en-US" sz="2400" dirty="0">
              <a:latin typeface="Times New Roman" pitchFamily="18" charset="0"/>
              <a:ea typeface="Times New Roman" pitchFamily="18" charset="0"/>
            </a:endParaRPr>
          </a:p>
          <a:p>
            <a:pPr algn="ctr" eaLnBrk="0" hangingPunct="0">
              <a:defRPr/>
            </a:pPr>
            <a:r>
              <a:rPr lang="en-US" sz="3200" u="sng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cs typeface="Times New Roman" pitchFamily="18" charset="0"/>
              </a:rPr>
              <a:t>Project Topic </a:t>
            </a:r>
            <a:r>
              <a:rPr lang="en-US" sz="32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:Design and development of XY axis </a:t>
            </a:r>
            <a:r>
              <a:rPr lang="en-US" sz="3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sketching </a:t>
            </a:r>
            <a:r>
              <a:rPr lang="en-US" sz="32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robot</a:t>
            </a:r>
          </a:p>
          <a:p>
            <a:pPr algn="ctr" eaLnBrk="0" hangingPunct="0">
              <a:defRPr/>
            </a:pPr>
            <a:r>
              <a:rPr lang="en-US" sz="2800" b="1" dirty="0">
                <a:solidFill>
                  <a:srgbClr val="7030A0"/>
                </a:solidFill>
              </a:rPr>
              <a:t>(Sponsored by </a:t>
            </a:r>
            <a:r>
              <a:rPr lang="en-US" sz="2800" dirty="0" err="1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i</a:t>
            </a:r>
            <a:r>
              <a:rPr lang="en-US" sz="2800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-Tech </a:t>
            </a:r>
            <a:r>
              <a:rPr lang="en-US" sz="2800" dirty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Robotics &amp; Automation Pvt. Ltd.)</a:t>
            </a:r>
          </a:p>
          <a:p>
            <a:pPr algn="ctr" eaLnBrk="0" hangingPunct="0">
              <a:defRPr/>
            </a:pPr>
            <a:endParaRPr lang="en-US" sz="2400" b="1" dirty="0">
              <a:solidFill>
                <a:srgbClr val="002060"/>
              </a:solidFill>
            </a:endParaRPr>
          </a:p>
        </p:txBody>
      </p:sp>
      <p:pic>
        <p:nvPicPr>
          <p:cNvPr id="4" name="Picture 3"/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6350" y="152400"/>
            <a:ext cx="1898650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111" t="28444" r="-3111" b="39556"/>
          <a:stretch/>
        </p:blipFill>
        <p:spPr>
          <a:xfrm>
            <a:off x="7000875" y="116806"/>
            <a:ext cx="2143125" cy="75949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=""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670" y="-40037"/>
            <a:ext cx="8971330" cy="669377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9" name="Right Arrow Callout 8"/>
          <p:cNvSpPr/>
          <p:nvPr/>
        </p:nvSpPr>
        <p:spPr>
          <a:xfrm>
            <a:off x="1563522" y="976262"/>
            <a:ext cx="2086255" cy="604377"/>
          </a:xfrm>
          <a:prstGeom prst="rightArrowCallout">
            <a:avLst/>
          </a:prstGeom>
          <a:solidFill>
            <a:srgbClr val="0366F7"/>
          </a:solidFill>
          <a:effectLst>
            <a:glow rad="2286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NG</a:t>
            </a:r>
            <a:r>
              <a:rPr lang="en-US" dirty="0" smtClean="0">
                <a:sym typeface="Wingdings" panose="05000000000000000000" pitchFamily="2" charset="2"/>
              </a:rPr>
              <a:t>SVG</a:t>
            </a:r>
            <a:endParaRPr lang="en-IN" dirty="0"/>
          </a:p>
        </p:txBody>
      </p:sp>
      <p:sp>
        <p:nvSpPr>
          <p:cNvPr id="14" name="Left Arrow Callout 13"/>
          <p:cNvSpPr/>
          <p:nvPr/>
        </p:nvSpPr>
        <p:spPr>
          <a:xfrm>
            <a:off x="5733266" y="2055390"/>
            <a:ext cx="2881745" cy="640885"/>
          </a:xfrm>
          <a:prstGeom prst="leftArrowCallout">
            <a:avLst>
              <a:gd name="adj1" fmla="val 25000"/>
              <a:gd name="adj2" fmla="val 25000"/>
              <a:gd name="adj3" fmla="val 25000"/>
              <a:gd name="adj4" fmla="val 82026"/>
            </a:avLst>
          </a:prstGeom>
          <a:solidFill>
            <a:srgbClr val="5197FD"/>
          </a:solidFill>
          <a:effectLst>
            <a:glow rad="2286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ocessing </a:t>
            </a:r>
            <a:r>
              <a:rPr lang="en-US" dirty="0" smtClean="0">
                <a:sym typeface="Wingdings" panose="05000000000000000000" pitchFamily="2" charset="2"/>
              </a:rPr>
              <a:t> G-Codes</a:t>
            </a:r>
            <a:endParaRPr lang="en-IN" dirty="0"/>
          </a:p>
        </p:txBody>
      </p:sp>
      <p:sp>
        <p:nvSpPr>
          <p:cNvPr id="15" name="Right Arrow Callout 14"/>
          <p:cNvSpPr/>
          <p:nvPr/>
        </p:nvSpPr>
        <p:spPr>
          <a:xfrm>
            <a:off x="278299" y="2942661"/>
            <a:ext cx="3488771" cy="690857"/>
          </a:xfrm>
          <a:prstGeom prst="rightArrowCallout">
            <a:avLst>
              <a:gd name="adj1" fmla="val 25000"/>
              <a:gd name="adj2" fmla="val 27006"/>
              <a:gd name="adj3" fmla="val 25000"/>
              <a:gd name="adj4" fmla="val 86063"/>
            </a:avLst>
          </a:prstGeom>
          <a:solidFill>
            <a:srgbClr val="77ADFD"/>
          </a:solidFill>
          <a:effectLst>
            <a:glow rad="2286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366F7"/>
                </a:solidFill>
              </a:rPr>
              <a:t>Arduino </a:t>
            </a:r>
            <a:r>
              <a:rPr lang="en-US" dirty="0" smtClean="0">
                <a:solidFill>
                  <a:srgbClr val="0366F7"/>
                </a:solidFill>
                <a:sym typeface="Wingdings" panose="05000000000000000000" pitchFamily="2" charset="2"/>
              </a:rPr>
              <a:t> Electric Signal</a:t>
            </a:r>
            <a:endParaRPr lang="en-IN" dirty="0">
              <a:solidFill>
                <a:srgbClr val="0366F7"/>
              </a:solidFill>
            </a:endParaRPr>
          </a:p>
        </p:txBody>
      </p:sp>
      <p:sp>
        <p:nvSpPr>
          <p:cNvPr id="20" name="Left Arrow Callout 19"/>
          <p:cNvSpPr/>
          <p:nvPr/>
        </p:nvSpPr>
        <p:spPr>
          <a:xfrm>
            <a:off x="5786990" y="3923528"/>
            <a:ext cx="3138525" cy="640885"/>
          </a:xfrm>
          <a:prstGeom prst="leftArrowCallout">
            <a:avLst>
              <a:gd name="adj1" fmla="val 25000"/>
              <a:gd name="adj2" fmla="val 25000"/>
              <a:gd name="adj3" fmla="val 25000"/>
              <a:gd name="adj4" fmla="val 82026"/>
            </a:avLst>
          </a:prstGeom>
          <a:solidFill>
            <a:srgbClr val="A8CBFE"/>
          </a:solidFill>
          <a:effectLst>
            <a:glow rad="2286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E-Signal 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  <a:sym typeface="Wingdings" panose="05000000000000000000" pitchFamily="2" charset="2"/>
              </a:rPr>
              <a:t> Mechanical O/p</a:t>
            </a:r>
            <a:endParaRPr lang="en-IN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2052" name="Picture 4" descr="Traffic lights red lamp on - prohibited Royalty Free Vector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5878" r="26219" b="28369"/>
          <a:stretch/>
        </p:blipFill>
        <p:spPr bwMode="auto">
          <a:xfrm>
            <a:off x="2640839" y="5435282"/>
            <a:ext cx="1078636" cy="135365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Traffic lights green lamp on - allowed Royalty Free Vector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1950" r="29421" b="26261"/>
          <a:stretch/>
        </p:blipFill>
        <p:spPr bwMode="auto">
          <a:xfrm>
            <a:off x="5855526" y="140754"/>
            <a:ext cx="791674" cy="1437374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extLst/>
        </p:spPr>
      </p:pic>
      <p:sp>
        <p:nvSpPr>
          <p:cNvPr id="2" name="Rectangle 1"/>
          <p:cNvSpPr/>
          <p:nvPr/>
        </p:nvSpPr>
        <p:spPr>
          <a:xfrm>
            <a:off x="3777745" y="70377"/>
            <a:ext cx="1981200" cy="668812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Rectangle 9"/>
          <p:cNvSpPr/>
          <p:nvPr/>
        </p:nvSpPr>
        <p:spPr>
          <a:xfrm>
            <a:off x="4624910" y="140754"/>
            <a:ext cx="228600" cy="658336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3601533" y="582045"/>
            <a:ext cx="2333623" cy="1258324"/>
          </a:xfrm>
          <a:prstGeom prst="rect">
            <a:avLst/>
          </a:prstGeom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spPr>
      </p:pic>
      <p:sp>
        <p:nvSpPr>
          <p:cNvPr id="30" name="Left Arrow Callout 29"/>
          <p:cNvSpPr/>
          <p:nvPr/>
        </p:nvSpPr>
        <p:spPr>
          <a:xfrm>
            <a:off x="5786990" y="5791667"/>
            <a:ext cx="2890566" cy="640885"/>
          </a:xfrm>
          <a:prstGeom prst="leftArrowCallout">
            <a:avLst>
              <a:gd name="adj1" fmla="val 25000"/>
              <a:gd name="adj2" fmla="val 25000"/>
              <a:gd name="adj3" fmla="val 25000"/>
              <a:gd name="adj4" fmla="val 82026"/>
            </a:avLst>
          </a:prstGeom>
          <a:solidFill>
            <a:srgbClr val="A8CBFE"/>
          </a:solidFill>
          <a:effectLst>
            <a:glow rad="2286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Result</a:t>
            </a:r>
            <a:r>
              <a:rPr lang="en-US" dirty="0">
                <a:solidFill>
                  <a:schemeClr val="tx2">
                    <a:lumMod val="75000"/>
                  </a:schemeClr>
                </a:solidFill>
                <a:sym typeface="Wingdings" panose="05000000000000000000" pitchFamily="2" charset="2"/>
              </a:rPr>
              <a:t> Drawing</a:t>
            </a:r>
            <a:endParaRPr lang="en-IN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4" name="Frame 23"/>
          <p:cNvSpPr/>
          <p:nvPr/>
        </p:nvSpPr>
        <p:spPr>
          <a:xfrm>
            <a:off x="0" y="0"/>
            <a:ext cx="9144000" cy="6875959"/>
          </a:xfrm>
          <a:prstGeom prst="frame">
            <a:avLst>
              <a:gd name="adj1" fmla="val 2249"/>
            </a:avLst>
          </a:prstGeom>
          <a:solidFill>
            <a:schemeClr val="bg2">
              <a:lumMod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0638" y="297031"/>
            <a:ext cx="3229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u="sng" dirty="0" smtClean="0">
                <a:solidFill>
                  <a:srgbClr val="FFFF00"/>
                </a:solidFill>
              </a:rPr>
              <a:t>Technical flow chart</a:t>
            </a:r>
            <a:endParaRPr lang="en-IN" sz="2800" b="1" u="sng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3728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0017 -3.7037E-7 L -0.00486 0.69005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0" y="3449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XY_img_0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381000" y="152400"/>
            <a:ext cx="6629400" cy="533400"/>
          </a:xfrm>
        </p:spPr>
        <p:txBody>
          <a:bodyPr>
            <a:normAutofit fontScale="90000"/>
          </a:bodyPr>
          <a:lstStyle/>
          <a:p>
            <a:r>
              <a:rPr lang="en-US" sz="3600" dirty="0"/>
              <a:t>Actual project photo-Referenc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228600" y="0"/>
            <a:ext cx="8686800" cy="678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2000">
              <a:schemeClr val="accent1">
                <a:lumMod val="20000"/>
                <a:lumOff val="80000"/>
              </a:schemeClr>
            </a:gs>
            <a:gs pos="48000">
              <a:schemeClr val="accent3">
                <a:lumMod val="45000"/>
                <a:lumOff val="55000"/>
              </a:schemeClr>
            </a:gs>
            <a:gs pos="68000">
              <a:schemeClr val="accent2">
                <a:lumMod val="20000"/>
                <a:lumOff val="80000"/>
              </a:schemeClr>
            </a:gs>
            <a:gs pos="24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547327A7-3B95-4E73-A918-F21F92F60E3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274638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u="sng" dirty="0"/>
              <a:t>FLOWCHART</a:t>
            </a:r>
            <a:endParaRPr lang="en-IN" sz="3200" u="sng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="" xmlns:a16="http://schemas.microsoft.com/office/drawing/2014/main" id="{B75B679A-3E37-40E9-A091-1C91885FA8FE}"/>
              </a:ext>
            </a:extLst>
          </p:cNvPr>
          <p:cNvGraphicFramePr/>
          <p:nvPr>
            <p:extLst>
              <p:ext uri="{D42A27DB-BD31-4B8C-83A1-F6EECF244321}">
                <p14:modId xmlns="" xmlns:p14="http://schemas.microsoft.com/office/powerpoint/2010/main" val="3226674761"/>
              </p:ext>
            </p:extLst>
          </p:nvPr>
        </p:nvGraphicFramePr>
        <p:xfrm>
          <a:off x="990600" y="1417638"/>
          <a:ext cx="7620000" cy="46021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="" xmlns:p14="http://schemas.microsoft.com/office/powerpoint/2010/main" val="4096248066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5">
                <a:lumMod val="5000"/>
                <a:lumOff val="95000"/>
              </a:schemeClr>
            </a:gs>
            <a:gs pos="74000">
              <a:schemeClr val="accent5">
                <a:lumMod val="45000"/>
                <a:lumOff val="55000"/>
              </a:schemeClr>
            </a:gs>
            <a:gs pos="83000">
              <a:schemeClr val="accent5">
                <a:lumMod val="45000"/>
                <a:lumOff val="55000"/>
              </a:schemeClr>
            </a:gs>
            <a:gs pos="100000">
              <a:schemeClr val="accent5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600200" y="0"/>
            <a:ext cx="7010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7030A0"/>
                </a:solidFill>
                <a:latin typeface="Century" pitchFamily="18" charset="0"/>
              </a:rPr>
              <a:t>Bill of material</a:t>
            </a:r>
            <a:endParaRPr lang="en-US" sz="3200" b="1" dirty="0">
              <a:solidFill>
                <a:srgbClr val="7030A0"/>
              </a:solidFill>
              <a:latin typeface="Century" pitchFamily="18" charset="0"/>
            </a:endParaRPr>
          </a:p>
        </p:txBody>
      </p:sp>
      <p:pic>
        <p:nvPicPr>
          <p:cNvPr id="8" name="Picture 7" descr="Screenshot (26).png"/>
          <p:cNvPicPr>
            <a:picLocks noChangeAspect="1"/>
          </p:cNvPicPr>
          <p:nvPr/>
        </p:nvPicPr>
        <p:blipFill>
          <a:blip r:embed="rId2"/>
          <a:srcRect l="32500" t="15909" r="30833" b="18874"/>
          <a:stretch>
            <a:fillRect/>
          </a:stretch>
        </p:blipFill>
        <p:spPr>
          <a:xfrm>
            <a:off x="1600200" y="533400"/>
            <a:ext cx="6172200" cy="61722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7523412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creenshot (57)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2300" y="533400"/>
            <a:ext cx="4267200" cy="2819400"/>
          </a:xfrm>
          <a:prstGeom prst="rect">
            <a:avLst/>
          </a:prstGeom>
        </p:spPr>
      </p:pic>
      <p:pic>
        <p:nvPicPr>
          <p:cNvPr id="9" name="Picture 8" descr="Screenshot (58)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500" y="533400"/>
            <a:ext cx="4343400" cy="2819400"/>
          </a:xfrm>
          <a:prstGeom prst="rect">
            <a:avLst/>
          </a:prstGeom>
        </p:spPr>
      </p:pic>
      <p:pic>
        <p:nvPicPr>
          <p:cNvPr id="10" name="Picture 9" descr="Screenshot (59)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5657" y="3711470"/>
            <a:ext cx="4298243" cy="29718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EBBB9E24-2D0B-401C-9830-A8CDDB63F375}"/>
              </a:ext>
            </a:extLst>
          </p:cNvPr>
          <p:cNvSpPr txBox="1"/>
          <p:nvPr/>
        </p:nvSpPr>
        <p:spPr>
          <a:xfrm>
            <a:off x="2590800" y="26151"/>
            <a:ext cx="563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paration of 3D Model of all parts</a:t>
            </a:r>
            <a:endParaRPr lang="en-IN" dirty="0"/>
          </a:p>
        </p:txBody>
      </p:sp>
      <p:sp>
        <p:nvSpPr>
          <p:cNvPr id="2" name="TextBox 1"/>
          <p:cNvSpPr txBox="1"/>
          <p:nvPr/>
        </p:nvSpPr>
        <p:spPr>
          <a:xfrm>
            <a:off x="381000" y="2377970"/>
            <a:ext cx="1981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 smtClean="0">
                <a:solidFill>
                  <a:schemeClr val="bg1"/>
                </a:solidFill>
              </a:rPr>
              <a:t>STANDERD SIZE</a:t>
            </a:r>
            <a:endParaRPr lang="en-IN" sz="2000" b="1" u="sng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797540" y="2377970"/>
            <a:ext cx="16582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u="sng" dirty="0">
                <a:solidFill>
                  <a:schemeClr val="bg1"/>
                </a:solidFill>
              </a:rPr>
              <a:t>STANDERD SIZE</a:t>
            </a:r>
            <a:endParaRPr lang="en-IN" b="1" u="sng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819400" y="5638800"/>
            <a:ext cx="14934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u="sng" dirty="0" smtClean="0">
                <a:solidFill>
                  <a:schemeClr val="bg1"/>
                </a:solidFill>
              </a:rPr>
              <a:t>SIZE:-2*3 feet</a:t>
            </a:r>
            <a:endParaRPr lang="en-IN" b="1" u="sng" dirty="0">
              <a:solidFill>
                <a:schemeClr val="bg1"/>
              </a:solidFill>
            </a:endParaRPr>
          </a:p>
        </p:txBody>
      </p:sp>
      <p:pic>
        <p:nvPicPr>
          <p:cNvPr id="11" name="Picture 10" descr="Screenshot (53)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45819" y="3711470"/>
            <a:ext cx="4213681" cy="29718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239000" y="5315634"/>
            <a:ext cx="128592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u="sng" dirty="0">
                <a:solidFill>
                  <a:schemeClr val="bg1"/>
                </a:solidFill>
              </a:rPr>
              <a:t>SIZE</a:t>
            </a:r>
            <a:r>
              <a:rPr lang="en-US" b="1" u="sng" dirty="0" smtClean="0">
                <a:solidFill>
                  <a:schemeClr val="bg1"/>
                </a:solidFill>
              </a:rPr>
              <a:t>:-5 MM</a:t>
            </a:r>
          </a:p>
          <a:p>
            <a:pPr algn="ctr"/>
            <a:r>
              <a:rPr lang="en-US" b="1" u="sng" dirty="0" smtClean="0">
                <a:solidFill>
                  <a:schemeClr val="bg1"/>
                </a:solidFill>
              </a:rPr>
              <a:t>16 TEETH</a:t>
            </a:r>
            <a:endParaRPr lang="en-IN" b="1" u="sng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5">
                <a:lumMod val="5000"/>
                <a:lumOff val="95000"/>
              </a:schemeClr>
            </a:gs>
            <a:gs pos="74000">
              <a:schemeClr val="accent5">
                <a:lumMod val="45000"/>
                <a:lumOff val="55000"/>
              </a:schemeClr>
            </a:gs>
            <a:gs pos="83000">
              <a:schemeClr val="accent5">
                <a:lumMod val="45000"/>
                <a:lumOff val="55000"/>
              </a:schemeClr>
            </a:gs>
            <a:gs pos="100000">
              <a:schemeClr val="accent5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Screenshot (52).png"/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4267200" y="3657600"/>
            <a:ext cx="4876800" cy="2895600"/>
          </a:xfrm>
          <a:prstGeom prst="rect">
            <a:avLst/>
          </a:prstGeom>
          <a:ln w="57150">
            <a:solidFill>
              <a:schemeClr val="accent2">
                <a:lumMod val="50000"/>
              </a:schemeClr>
            </a:solidFill>
          </a:ln>
        </p:spPr>
      </p:pic>
      <p:pic>
        <p:nvPicPr>
          <p:cNvPr id="5" name="Content Placeholder 3" descr="Screenshot (50)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"/>
            <a:ext cx="5410200" cy="3301649"/>
          </a:xfrm>
          <a:prstGeom prst="rect">
            <a:avLst/>
          </a:prstGeom>
          <a:ln w="38100">
            <a:solidFill>
              <a:schemeClr val="accent6">
                <a:lumMod val="50000"/>
              </a:schemeClr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26F90DB1-4EB2-4C14-9899-608FC63F76F4}"/>
              </a:ext>
            </a:extLst>
          </p:cNvPr>
          <p:cNvSpPr txBox="1"/>
          <p:nvPr/>
        </p:nvSpPr>
        <p:spPr>
          <a:xfrm>
            <a:off x="6248400" y="0"/>
            <a:ext cx="2895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u="sng" dirty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reparation of 3D Model of all parts</a:t>
            </a:r>
            <a:endParaRPr lang="en-IN" sz="2400" u="sng" dirty="0">
              <a:solidFill>
                <a:schemeClr val="accent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86400" y="1447800"/>
            <a:ext cx="3200400" cy="4001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000" u="sng" dirty="0" smtClean="0">
                <a:latin typeface="Arial" pitchFamily="34" charset="0"/>
                <a:cs typeface="Arial" pitchFamily="34" charset="0"/>
              </a:rPr>
              <a:t>Part – </a:t>
            </a:r>
            <a:r>
              <a:rPr lang="en-US" sz="2000" dirty="0" smtClean="0">
                <a:latin typeface="Arial" pitchFamily="34" charset="0"/>
                <a:cs typeface="Arial" pitchFamily="34" charset="0"/>
              </a:rPr>
              <a:t>motor bracket</a:t>
            </a:r>
            <a:endParaRPr lang="en-US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00200" y="4267200"/>
            <a:ext cx="3657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u="sng" dirty="0" smtClean="0">
                <a:solidFill>
                  <a:srgbClr val="002060"/>
                </a:solidFill>
              </a:rPr>
              <a:t>Part- </a:t>
            </a:r>
            <a:r>
              <a:rPr lang="en-US" sz="2400" dirty="0" smtClean="0">
                <a:solidFill>
                  <a:srgbClr val="002060"/>
                </a:solidFill>
              </a:rPr>
              <a:t>Pen holder</a:t>
            </a:r>
            <a:endParaRPr lang="en-US" sz="2400" dirty="0">
              <a:solidFill>
                <a:srgbClr val="002060"/>
              </a:solidFill>
            </a:endParaRPr>
          </a:p>
        </p:txBody>
      </p:sp>
      <p:pic>
        <p:nvPicPr>
          <p:cNvPr id="23554" name="Picture 2" descr="D:\catia\polargraph catia model\photos\2d with dimension\Screenshot (51).png"/>
          <p:cNvPicPr>
            <a:picLocks noChangeAspect="1" noChangeArrowheads="1"/>
          </p:cNvPicPr>
          <p:nvPr/>
        </p:nvPicPr>
        <p:blipFill>
          <a:blip r:embed="rId4"/>
          <a:srcRect l="20717" t="21875" r="28331" b="20833"/>
          <a:stretch>
            <a:fillRect/>
          </a:stretch>
        </p:blipFill>
        <p:spPr bwMode="auto">
          <a:xfrm>
            <a:off x="0" y="3657600"/>
            <a:ext cx="4267200" cy="2895600"/>
          </a:xfrm>
          <a:prstGeom prst="rect">
            <a:avLst/>
          </a:prstGeom>
          <a:noFill/>
          <a:ln w="57150">
            <a:solidFill>
              <a:schemeClr val="accent2">
                <a:lumMod val="50000"/>
              </a:schemeClr>
            </a:solidFill>
          </a:ln>
        </p:spPr>
      </p:pic>
      <p:sp>
        <p:nvSpPr>
          <p:cNvPr id="9" name="Right Arrow 8"/>
          <p:cNvSpPr/>
          <p:nvPr/>
        </p:nvSpPr>
        <p:spPr>
          <a:xfrm>
            <a:off x="3505200" y="5791200"/>
            <a:ext cx="1600200" cy="304800"/>
          </a:xfrm>
          <a:prstGeom prst="rightArrow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657600" y="1981200"/>
            <a:ext cx="152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</a:rPr>
              <a:t>Standard size</a:t>
            </a:r>
          </a:p>
          <a:p>
            <a:pPr algn="ctr"/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600200" y="6096000"/>
            <a:ext cx="2514600" cy="4001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u="sng" dirty="0" smtClean="0">
                <a:latin typeface="Arial" pitchFamily="34" charset="0"/>
                <a:cs typeface="Arial" pitchFamily="34" charset="0"/>
              </a:rPr>
              <a:t>Part – Pen Holder</a:t>
            </a:r>
            <a:endParaRPr lang="en-US" sz="20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 descr="Screenshot (24).png"/>
          <p:cNvPicPr>
            <a:picLocks noGrp="1" noChangeAspect="1"/>
          </p:cNvPicPr>
          <p:nvPr>
            <p:ph sz="half" idx="4294967295"/>
          </p:nvPr>
        </p:nvPicPr>
        <p:blipFill>
          <a:blip r:embed="rId2"/>
          <a:stretch>
            <a:fillRect/>
          </a:stretch>
        </p:blipFill>
        <p:spPr>
          <a:xfrm>
            <a:off x="228600" y="838200"/>
            <a:ext cx="5638800" cy="3169981"/>
          </a:xfrm>
          <a:prstGeom prst="rect">
            <a:avLst/>
          </a:prstGeom>
          <a:ln w="1270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8" name="Content Placeholder 3" descr="Screenshot (25).png"/>
          <p:cNvPicPr>
            <a:picLocks noGrp="1" noChangeAspect="1"/>
          </p:cNvPicPr>
          <p:nvPr>
            <p:ph sz="quarter" idx="4294967295"/>
          </p:nvPr>
        </p:nvPicPr>
        <p:blipFill>
          <a:blip r:embed="rId3" cstate="print"/>
          <a:stretch>
            <a:fillRect/>
          </a:stretch>
        </p:blipFill>
        <p:spPr>
          <a:xfrm>
            <a:off x="4202455" y="3276600"/>
            <a:ext cx="4913836" cy="2761861"/>
          </a:xfrm>
          <a:prstGeom prst="rect">
            <a:avLst/>
          </a:prstGeom>
          <a:ln w="1270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9" name="TextBox 8"/>
          <p:cNvSpPr txBox="1"/>
          <p:nvPr/>
        </p:nvSpPr>
        <p:spPr>
          <a:xfrm>
            <a:off x="228600" y="164068"/>
            <a:ext cx="60346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3D Printing parts preparation using software : </a:t>
            </a:r>
            <a:r>
              <a:rPr lang="en-US" b="1" dirty="0" err="1" smtClean="0"/>
              <a:t>Ultimaker</a:t>
            </a:r>
            <a:r>
              <a:rPr lang="en-US" b="1" dirty="0" smtClean="0"/>
              <a:t> </a:t>
            </a:r>
            <a:r>
              <a:rPr lang="en-US" b="1" dirty="0"/>
              <a:t>Cura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6">
                <a:lumMod val="40000"/>
                <a:lumOff val="60000"/>
              </a:schemeClr>
            </a:gs>
            <a:gs pos="56000">
              <a:schemeClr val="accent3">
                <a:lumMod val="45000"/>
                <a:lumOff val="55000"/>
              </a:schemeClr>
            </a:gs>
            <a:gs pos="81000">
              <a:schemeClr val="accent2">
                <a:lumMod val="20000"/>
                <a:lumOff val="80000"/>
              </a:schemeClr>
            </a:gs>
            <a:gs pos="23000">
              <a:schemeClr val="accent3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 descr="IMG_20211018_120909.jpg"/>
          <p:cNvPicPr>
            <a:picLocks noGrp="1" noChangeAspect="1"/>
          </p:cNvPicPr>
          <p:nvPr>
            <p:ph sz="half" idx="2"/>
          </p:nvPr>
        </p:nvPicPr>
        <p:blipFill>
          <a:blip r:embed="rId3" cstate="print"/>
          <a:srcRect t="13333"/>
          <a:stretch>
            <a:fillRect/>
          </a:stretch>
        </p:blipFill>
        <p:spPr>
          <a:xfrm>
            <a:off x="228600" y="838200"/>
            <a:ext cx="2967365" cy="152399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Picture 8" descr="IMG_20211018_125505.jpg"/>
          <p:cNvPicPr>
            <a:picLocks noChangeAspect="1"/>
          </p:cNvPicPr>
          <p:nvPr/>
        </p:nvPicPr>
        <p:blipFill>
          <a:blip r:embed="rId4" cstate="print"/>
          <a:srcRect l="9375" t="4168" r="12500" b="24721"/>
          <a:stretch>
            <a:fillRect/>
          </a:stretch>
        </p:blipFill>
        <p:spPr>
          <a:xfrm>
            <a:off x="228600" y="2438400"/>
            <a:ext cx="2897809" cy="42672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1" name="Picture 10" descr="IMG_20211018_131616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581400" y="636104"/>
            <a:ext cx="5334000" cy="602974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0" name="TextBox 9"/>
          <p:cNvSpPr txBox="1"/>
          <p:nvPr/>
        </p:nvSpPr>
        <p:spPr>
          <a:xfrm>
            <a:off x="228600" y="228600"/>
            <a:ext cx="24416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 smtClean="0">
                <a:latin typeface="Arial" pitchFamily="34" charset="0"/>
                <a:cs typeface="Arial" pitchFamily="34" charset="0"/>
              </a:rPr>
              <a:t>Prototype of project </a:t>
            </a:r>
            <a:endParaRPr lang="en-US" b="1" u="sng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="" xmlns:p14="http://schemas.microsoft.com/office/powerpoint/2010/main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5">
                <a:lumMod val="5000"/>
                <a:lumOff val="95000"/>
              </a:schemeClr>
            </a:gs>
            <a:gs pos="74000">
              <a:schemeClr val="accent5">
                <a:lumMod val="45000"/>
                <a:lumOff val="55000"/>
              </a:schemeClr>
            </a:gs>
            <a:gs pos="83000">
              <a:schemeClr val="accent5">
                <a:lumMod val="45000"/>
                <a:lumOff val="55000"/>
              </a:schemeClr>
            </a:gs>
            <a:gs pos="100000">
              <a:schemeClr val="accent5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FAE94FB-B914-489B-A5B7-A9BA6A500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391522"/>
            <a:ext cx="7391400" cy="1280890"/>
          </a:xfrm>
        </p:spPr>
        <p:txBody>
          <a:bodyPr>
            <a:normAutofit/>
          </a:bodyPr>
          <a:lstStyle/>
          <a:p>
            <a:r>
              <a:rPr lang="en-US" sz="3200" b="1" dirty="0"/>
              <a:t>All </a:t>
            </a:r>
            <a:r>
              <a:rPr lang="en-US" sz="3200" b="1" dirty="0" smtClean="0"/>
              <a:t>components</a:t>
            </a:r>
            <a:endParaRPr lang="en-IN" sz="3600" b="1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="" xmlns:a16="http://schemas.microsoft.com/office/drawing/2014/main" id="{9510034C-2518-4036-B773-C588C6E0CC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888643938"/>
              </p:ext>
            </p:extLst>
          </p:nvPr>
        </p:nvGraphicFramePr>
        <p:xfrm>
          <a:off x="685800" y="1346461"/>
          <a:ext cx="7391400" cy="5232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95700">
                  <a:extLst>
                    <a:ext uri="{9D8B030D-6E8A-4147-A177-3AD203B41FA5}">
                      <a16:colId xmlns="" xmlns:a16="http://schemas.microsoft.com/office/drawing/2014/main" val="2425828943"/>
                    </a:ext>
                  </a:extLst>
                </a:gridCol>
                <a:gridCol w="3695700">
                  <a:extLst>
                    <a:ext uri="{9D8B030D-6E8A-4147-A177-3AD203B41FA5}">
                      <a16:colId xmlns="" xmlns:a16="http://schemas.microsoft.com/office/drawing/2014/main" val="2647851055"/>
                    </a:ext>
                  </a:extLst>
                </a:gridCol>
              </a:tblGrid>
              <a:tr h="2616200">
                <a:tc>
                  <a:txBody>
                    <a:bodyPr/>
                    <a:lstStyle/>
                    <a:p>
                      <a:pPr algn="l"/>
                      <a:r>
                        <a:rPr lang="en-US" sz="1800" u="sng" dirty="0"/>
                        <a:t>Arduino Board </a:t>
                      </a:r>
                      <a:r>
                        <a:rPr lang="en-US" sz="1800" u="sng" dirty="0" smtClean="0"/>
                        <a:t>UNOR3        Quantity</a:t>
                      </a:r>
                      <a:r>
                        <a:rPr lang="en-US" sz="1800" u="sng" baseline="0" dirty="0" smtClean="0"/>
                        <a:t> 1</a:t>
                      </a:r>
                      <a:endParaRPr lang="en-IN" sz="2400" u="sng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u="sng" dirty="0" err="1" smtClean="0"/>
                        <a:t>Nema</a:t>
                      </a:r>
                      <a:r>
                        <a:rPr lang="en-US" sz="1800" u="sng" dirty="0" smtClean="0"/>
                        <a:t> 17 </a:t>
                      </a:r>
                      <a:r>
                        <a:rPr lang="en-US" sz="1800" u="sng" dirty="0"/>
                        <a:t>stepper </a:t>
                      </a:r>
                      <a:r>
                        <a:rPr lang="en-US" sz="1800" u="sng" dirty="0" smtClean="0"/>
                        <a:t>motor                Quantity 2</a:t>
                      </a:r>
                      <a:endParaRPr lang="en-IN" sz="1800" u="sng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28844462"/>
                  </a:ext>
                </a:extLst>
              </a:tr>
              <a:tr h="2616200">
                <a:tc>
                  <a:txBody>
                    <a:bodyPr/>
                    <a:lstStyle/>
                    <a:p>
                      <a:r>
                        <a:rPr lang="en-US" sz="1800" u="sng" dirty="0"/>
                        <a:t>Servo motor </a:t>
                      </a:r>
                      <a:r>
                        <a:rPr lang="en-US" sz="1800" u="sng" dirty="0" smtClean="0"/>
                        <a:t>MG90S           Quantity 1</a:t>
                      </a:r>
                      <a:endParaRPr lang="en-IN" sz="2400" u="sng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u="sng" dirty="0"/>
                        <a:t>Motor Driver IC </a:t>
                      </a:r>
                      <a:r>
                        <a:rPr lang="en-US" sz="1800" u="sng" dirty="0" smtClean="0"/>
                        <a:t>L293D       Quantity 2</a:t>
                      </a:r>
                      <a:endParaRPr lang="en-IN" sz="1800" u="sng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27129442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0D08FBC8-93C3-453D-9BC7-23FB78C78EC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6667" t="30518" r="21667" b="11111"/>
          <a:stretch/>
        </p:blipFill>
        <p:spPr>
          <a:xfrm>
            <a:off x="838200" y="1828800"/>
            <a:ext cx="3347405" cy="170179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EB29468C-8230-48DF-82C8-4CD32BFE12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1981200"/>
            <a:ext cx="3348833" cy="186099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774A49F9-7C22-45B1-BD59-6E921743638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3333" r="32500" b="14462"/>
          <a:stretch/>
        </p:blipFill>
        <p:spPr>
          <a:xfrm>
            <a:off x="5181600" y="4274138"/>
            <a:ext cx="2438400" cy="211679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77CD1C2B-322B-43E0-9D2E-D2AE4A67E5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88540" y="4364914"/>
            <a:ext cx="2216660" cy="210156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6985592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6">
                <a:lumMod val="40000"/>
                <a:lumOff val="60000"/>
              </a:schemeClr>
            </a:gs>
            <a:gs pos="95000">
              <a:schemeClr val="accent2">
                <a:lumMod val="20000"/>
                <a:lumOff val="80000"/>
              </a:schemeClr>
            </a:gs>
            <a:gs pos="35000">
              <a:schemeClr val="accent2">
                <a:lumMod val="20000"/>
                <a:lumOff val="80000"/>
              </a:schemeClr>
            </a:gs>
            <a:gs pos="57000">
              <a:schemeClr val="accent5">
                <a:lumMod val="30000"/>
                <a:lumOff val="70000"/>
              </a:schemeClr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000" y="34636"/>
            <a:ext cx="10555136" cy="69048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9359FA6C-1BF7-4D23-8FDA-D30EDF4D93B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" r="68907"/>
          <a:stretch/>
        </p:blipFill>
        <p:spPr>
          <a:xfrm>
            <a:off x="0" y="0"/>
            <a:ext cx="2895600" cy="685800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pic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B6CF1BDD-696C-4093-9CEF-A2609F77488B}"/>
              </a:ext>
            </a:extLst>
          </p:cNvPr>
          <p:cNvSpPr/>
          <p:nvPr/>
        </p:nvSpPr>
        <p:spPr>
          <a:xfrm>
            <a:off x="2892490" y="914400"/>
            <a:ext cx="609598" cy="60960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</a:t>
            </a:r>
            <a:endParaRPr lang="en-IN" b="1" dirty="0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E6A359FC-7F85-4D27-8627-E95F37B2651B}"/>
              </a:ext>
            </a:extLst>
          </p:cNvPr>
          <p:cNvSpPr/>
          <p:nvPr/>
        </p:nvSpPr>
        <p:spPr>
          <a:xfrm>
            <a:off x="2895602" y="1828800"/>
            <a:ext cx="609598" cy="60960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  <a:endParaRPr lang="en-IN" b="1" dirty="0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D01E9375-C773-440B-919A-56CC022AD38F}"/>
              </a:ext>
            </a:extLst>
          </p:cNvPr>
          <p:cNvSpPr/>
          <p:nvPr/>
        </p:nvSpPr>
        <p:spPr>
          <a:xfrm>
            <a:off x="2892490" y="2743200"/>
            <a:ext cx="609598" cy="60960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  <a:endParaRPr lang="en-IN" b="1" dirty="0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2E14CDF6-75A2-405A-8CA3-EF3D9EED9FB5}"/>
              </a:ext>
            </a:extLst>
          </p:cNvPr>
          <p:cNvSpPr/>
          <p:nvPr/>
        </p:nvSpPr>
        <p:spPr>
          <a:xfrm>
            <a:off x="2892490" y="3657600"/>
            <a:ext cx="609598" cy="60960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4</a:t>
            </a:r>
            <a:endParaRPr lang="en-IN" b="1" dirty="0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38190087-6BD7-4CCB-A004-6882B2227BD6}"/>
              </a:ext>
            </a:extLst>
          </p:cNvPr>
          <p:cNvSpPr/>
          <p:nvPr/>
        </p:nvSpPr>
        <p:spPr>
          <a:xfrm>
            <a:off x="2892490" y="4572000"/>
            <a:ext cx="609598" cy="60960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5</a:t>
            </a:r>
            <a:endParaRPr lang="en-IN" b="1" dirty="0"/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7A7E6CD9-0892-4E14-9F9D-BB9E31D69A41}"/>
              </a:ext>
            </a:extLst>
          </p:cNvPr>
          <p:cNvSpPr/>
          <p:nvPr/>
        </p:nvSpPr>
        <p:spPr>
          <a:xfrm>
            <a:off x="2892490" y="5486400"/>
            <a:ext cx="609598" cy="60960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6</a:t>
            </a:r>
            <a:endParaRPr lang="en-IN" b="1" dirty="0"/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11BAFB7C-CDEE-4249-8B8D-5CB38E3BBB0C}"/>
              </a:ext>
            </a:extLst>
          </p:cNvPr>
          <p:cNvSpPr/>
          <p:nvPr/>
        </p:nvSpPr>
        <p:spPr>
          <a:xfrm>
            <a:off x="3622614" y="990600"/>
            <a:ext cx="4038600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F0169923-25D6-491D-8A3E-E6263F57F20B}"/>
              </a:ext>
            </a:extLst>
          </p:cNvPr>
          <p:cNvSpPr txBox="1"/>
          <p:nvPr/>
        </p:nvSpPr>
        <p:spPr>
          <a:xfrm>
            <a:off x="3581400" y="914400"/>
            <a:ext cx="2971800" cy="52322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INTRODUCTION</a:t>
            </a:r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CDE5749C-2249-49EF-855A-67103F757AB0}"/>
              </a:ext>
            </a:extLst>
          </p:cNvPr>
          <p:cNvSpPr/>
          <p:nvPr/>
        </p:nvSpPr>
        <p:spPr>
          <a:xfrm>
            <a:off x="3775014" y="1828800"/>
            <a:ext cx="4038600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8AD33CD7-AA94-4696-982A-6D70CB77426A}"/>
              </a:ext>
            </a:extLst>
          </p:cNvPr>
          <p:cNvSpPr/>
          <p:nvPr/>
        </p:nvSpPr>
        <p:spPr>
          <a:xfrm>
            <a:off x="3622614" y="1866900"/>
            <a:ext cx="4038600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D27F67AD-EE5E-4ED1-A20B-D638ACABC186}"/>
              </a:ext>
            </a:extLst>
          </p:cNvPr>
          <p:cNvSpPr txBox="1"/>
          <p:nvPr/>
        </p:nvSpPr>
        <p:spPr>
          <a:xfrm>
            <a:off x="3502088" y="2743200"/>
            <a:ext cx="4419600" cy="52322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ROBLEM STATEMENT</a:t>
            </a:r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B9379C71-1723-4578-9BE9-7DD44AB66848}"/>
              </a:ext>
            </a:extLst>
          </p:cNvPr>
          <p:cNvSpPr txBox="1"/>
          <p:nvPr/>
        </p:nvSpPr>
        <p:spPr>
          <a:xfrm>
            <a:off x="3581400" y="3657600"/>
            <a:ext cx="3352800" cy="52322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OBJECTIVES</a:t>
            </a:r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72DC9BF9-A5FE-4A8F-9B51-DDAE48BDCEB2}"/>
              </a:ext>
            </a:extLst>
          </p:cNvPr>
          <p:cNvSpPr txBox="1"/>
          <p:nvPr/>
        </p:nvSpPr>
        <p:spPr>
          <a:xfrm>
            <a:off x="3581400" y="1828800"/>
            <a:ext cx="4267200" cy="52322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LITERATURE REVIEW</a:t>
            </a:r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6F277B88-5FE2-49C6-82FB-DE457C81AE98}"/>
              </a:ext>
            </a:extLst>
          </p:cNvPr>
          <p:cNvSpPr txBox="1"/>
          <p:nvPr/>
        </p:nvSpPr>
        <p:spPr>
          <a:xfrm>
            <a:off x="3581400" y="4648200"/>
            <a:ext cx="4495800" cy="52322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OSSIBLE OUTCOMES</a:t>
            </a:r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026280B7-CD26-47B9-A546-E4F0AC2E93EB}"/>
              </a:ext>
            </a:extLst>
          </p:cNvPr>
          <p:cNvSpPr txBox="1"/>
          <p:nvPr/>
        </p:nvSpPr>
        <p:spPr>
          <a:xfrm>
            <a:off x="3581400" y="5562600"/>
            <a:ext cx="3733800" cy="52322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REFEERENCES</a:t>
            </a:r>
            <a:endParaRPr lang="en-IN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143540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="" xmlns:p14="http://schemas.microsoft.com/office/powerpoint/2010/main" Requires="p14">
      <p:transition spd="slow" p14:dur="1500">
        <p:split orient="vert"/>
      </p:transition>
    </mc:Choice>
    <mc:Fallback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5">
                <a:lumMod val="5000"/>
                <a:lumOff val="95000"/>
              </a:schemeClr>
            </a:gs>
            <a:gs pos="74000">
              <a:schemeClr val="accent5">
                <a:lumMod val="45000"/>
                <a:lumOff val="55000"/>
              </a:schemeClr>
            </a:gs>
            <a:gs pos="83000">
              <a:schemeClr val="accent5">
                <a:lumMod val="45000"/>
                <a:lumOff val="55000"/>
              </a:schemeClr>
            </a:gs>
            <a:gs pos="100000">
              <a:schemeClr val="accent5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FAE94FB-B914-489B-A5B7-A9BA6A500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371629"/>
            <a:ext cx="7391400" cy="1280890"/>
          </a:xfrm>
        </p:spPr>
        <p:txBody>
          <a:bodyPr>
            <a:normAutofit/>
          </a:bodyPr>
          <a:lstStyle/>
          <a:p>
            <a:r>
              <a:rPr lang="en-US" sz="3200" b="1" dirty="0"/>
              <a:t>All Components</a:t>
            </a:r>
            <a:endParaRPr lang="en-IN" sz="3200" b="1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="" xmlns:a16="http://schemas.microsoft.com/office/drawing/2014/main" id="{9510034C-2518-4036-B773-C588C6E0CC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4081290914"/>
              </p:ext>
            </p:extLst>
          </p:nvPr>
        </p:nvGraphicFramePr>
        <p:xfrm>
          <a:off x="685800" y="1346461"/>
          <a:ext cx="7391400" cy="5232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962400">
                  <a:extLst>
                    <a:ext uri="{9D8B030D-6E8A-4147-A177-3AD203B41FA5}">
                      <a16:colId xmlns="" xmlns:a16="http://schemas.microsoft.com/office/drawing/2014/main" val="2425828943"/>
                    </a:ext>
                  </a:extLst>
                </a:gridCol>
                <a:gridCol w="3429000">
                  <a:extLst>
                    <a:ext uri="{9D8B030D-6E8A-4147-A177-3AD203B41FA5}">
                      <a16:colId xmlns="" xmlns:a16="http://schemas.microsoft.com/office/drawing/2014/main" val="2647851055"/>
                    </a:ext>
                  </a:extLst>
                </a:gridCol>
              </a:tblGrid>
              <a:tr h="2616200">
                <a:tc>
                  <a:txBody>
                    <a:bodyPr/>
                    <a:lstStyle/>
                    <a:p>
                      <a:r>
                        <a:rPr lang="en-US" sz="1800" u="sng" dirty="0"/>
                        <a:t>GT2 Rubber </a:t>
                      </a:r>
                      <a:r>
                        <a:rPr lang="en-US" sz="1800" u="sng" dirty="0" smtClean="0"/>
                        <a:t>Belt                       Quantity 1</a:t>
                      </a:r>
                      <a:endParaRPr lang="en-US" sz="2400" u="sng" dirty="0"/>
                    </a:p>
                    <a:p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u="sng" dirty="0"/>
                        <a:t>GT2 16 teeth </a:t>
                      </a:r>
                      <a:r>
                        <a:rPr lang="en-US" sz="1800" u="sng" dirty="0" smtClean="0"/>
                        <a:t>Pulley         Quantity2</a:t>
                      </a:r>
                      <a:r>
                        <a:rPr lang="en-US" sz="2400" dirty="0" smtClean="0"/>
                        <a:t> </a:t>
                      </a:r>
                      <a:endParaRPr lang="en-IN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28844462"/>
                  </a:ext>
                </a:extLst>
              </a:tr>
              <a:tr h="2616200">
                <a:tc>
                  <a:txBody>
                    <a:bodyPr/>
                    <a:lstStyle/>
                    <a:p>
                      <a:r>
                        <a:rPr lang="en-US" sz="1800" u="sng" dirty="0"/>
                        <a:t>Mounting </a:t>
                      </a:r>
                      <a:r>
                        <a:rPr lang="en-US" sz="1800" u="sng" dirty="0" smtClean="0"/>
                        <a:t>bracket                     Quantity2    </a:t>
                      </a:r>
                      <a:endParaRPr lang="en-IN" sz="1800" u="sng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u="sng" dirty="0"/>
                        <a:t>Pen </a:t>
                      </a:r>
                      <a:r>
                        <a:rPr lang="en-US" sz="1800" u="sng" dirty="0" smtClean="0"/>
                        <a:t>Holder                       Quantity1</a:t>
                      </a:r>
                      <a:endParaRPr lang="en-IN" sz="1800" u="sng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27129442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785BFD3A-6BD3-4087-AA8C-358ECEF1662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0953"/>
          <a:stretch/>
        </p:blipFill>
        <p:spPr>
          <a:xfrm>
            <a:off x="1600200" y="1759570"/>
            <a:ext cx="2209800" cy="196904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10F26FA3-D1B7-4F4B-AE7E-14B4D0345F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0675" y="2023479"/>
            <a:ext cx="1238250" cy="170513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3402DADF-64AD-4DA5-9059-74F185C410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73113" y="4267200"/>
            <a:ext cx="2336887" cy="220461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7B507189-B11E-4E98-872D-1C8717B696B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999" t="14157" r="4172"/>
          <a:stretch/>
        </p:blipFill>
        <p:spPr>
          <a:xfrm>
            <a:off x="4800600" y="4495800"/>
            <a:ext cx="2892197" cy="170513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0297571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="" xmlns:p14="http://schemas.microsoft.com/office/powerpoint/2010/main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Content Placeholder 27" descr="IMG-20211021-WA0043.jpg"/>
          <p:cNvPicPr>
            <a:picLocks noGrp="1" noChangeAspect="1"/>
          </p:cNvPicPr>
          <p:nvPr>
            <p:ph idx="1"/>
          </p:nvPr>
        </p:nvPicPr>
        <p:blipFill>
          <a:blip r:embed="rId2"/>
          <a:srcRect t="13462" b="28846"/>
          <a:stretch>
            <a:fillRect/>
          </a:stretch>
        </p:blipFill>
        <p:spPr>
          <a:xfrm>
            <a:off x="110835" y="-228600"/>
            <a:ext cx="4114801" cy="302334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7" name="TextBox 6"/>
          <p:cNvSpPr txBox="1"/>
          <p:nvPr/>
        </p:nvSpPr>
        <p:spPr>
          <a:xfrm>
            <a:off x="990600" y="1524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29" name="Picture 28" descr="IMG-20211021-WA0042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451846"/>
            <a:ext cx="4114800" cy="38862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30" name="Picture 29" descr="IMG-20211021-WA0037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1400" y="-405654"/>
            <a:ext cx="5325035" cy="6858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2" name="TextBox 1"/>
          <p:cNvSpPr txBox="1"/>
          <p:nvPr/>
        </p:nvSpPr>
        <p:spPr>
          <a:xfrm>
            <a:off x="117762" y="2010963"/>
            <a:ext cx="289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FFFF00"/>
                </a:solidFill>
              </a:rPr>
              <a:t>MATERIAL USED PLA+</a:t>
            </a:r>
            <a:endParaRPr lang="en-IN" sz="2400" dirty="0">
              <a:solidFill>
                <a:srgbClr val="FFFF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00400" y="5244359"/>
            <a:ext cx="5562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u="sng" dirty="0" smtClean="0">
                <a:solidFill>
                  <a:srgbClr val="FF0000"/>
                </a:solidFill>
                <a:latin typeface="Century" pitchFamily="18" charset="0"/>
              </a:rPr>
              <a:t>CARTISIAN ROBOT TYPE OF 3D PRINTER</a:t>
            </a:r>
            <a:endParaRPr lang="en-IN" sz="2400" b="1" u="sng" dirty="0">
              <a:solidFill>
                <a:srgbClr val="FF0000"/>
              </a:solidFill>
              <a:latin typeface="Century" pitchFamily="18" charset="0"/>
            </a:endParaRPr>
          </a:p>
        </p:txBody>
      </p:sp>
    </p:spTree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6">
                <a:lumMod val="40000"/>
                <a:lumOff val="60000"/>
              </a:schemeClr>
            </a:gs>
            <a:gs pos="56000">
              <a:schemeClr val="accent3">
                <a:lumMod val="45000"/>
                <a:lumOff val="55000"/>
              </a:schemeClr>
            </a:gs>
            <a:gs pos="81000">
              <a:schemeClr val="accent2">
                <a:lumMod val="20000"/>
                <a:lumOff val="80000"/>
              </a:schemeClr>
            </a:gs>
            <a:gs pos="23000">
              <a:schemeClr val="accent3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81000" y="381000"/>
            <a:ext cx="4191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>
                <a:latin typeface="Arial" pitchFamily="34" charset="0"/>
                <a:cs typeface="Arial" pitchFamily="34" charset="0"/>
              </a:rPr>
              <a:t>3D Printing </a:t>
            </a:r>
            <a:r>
              <a:rPr lang="en-US" u="sng" dirty="0" smtClean="0">
                <a:latin typeface="Arial" pitchFamily="34" charset="0"/>
                <a:cs typeface="Arial" pitchFamily="34" charset="0"/>
              </a:rPr>
              <a:t>Process</a:t>
            </a:r>
            <a:endParaRPr lang="en-US" u="sng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 descr="IMG_20211021_133150.jpg"/>
          <p:cNvPicPr>
            <a:picLocks noChangeAspect="1"/>
          </p:cNvPicPr>
          <p:nvPr/>
        </p:nvPicPr>
        <p:blipFill>
          <a:blip r:embed="rId2" cstate="print"/>
          <a:srcRect b="12698"/>
          <a:stretch>
            <a:fillRect/>
          </a:stretch>
        </p:blipFill>
        <p:spPr>
          <a:xfrm rot="5400000">
            <a:off x="5171746" y="619455"/>
            <a:ext cx="3448708" cy="2667000"/>
          </a:xfrm>
          <a:prstGeom prst="ellipse">
            <a:avLst/>
          </a:prstGeom>
          <a:ln w="190500" cap="rnd">
            <a:solidFill>
              <a:srgbClr val="C8C6BD"/>
            </a:solidFill>
            <a:prstDash val="solid"/>
          </a:ln>
          <a:effectLst>
            <a:outerShdw blurRad="127000" algn="bl" rotWithShape="0">
              <a:srgbClr val="000000"/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9" name="Picture 8" descr="IMG_20211021_131051.jpg"/>
          <p:cNvPicPr>
            <a:picLocks noChangeAspect="1"/>
          </p:cNvPicPr>
          <p:nvPr/>
        </p:nvPicPr>
        <p:blipFill>
          <a:blip r:embed="rId3" cstate="print"/>
          <a:srcRect r="7160" b="18889"/>
          <a:stretch>
            <a:fillRect/>
          </a:stretch>
        </p:blipFill>
        <p:spPr>
          <a:xfrm>
            <a:off x="304800" y="1219200"/>
            <a:ext cx="4328160" cy="54102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4" name="Right Arrow 13"/>
          <p:cNvSpPr/>
          <p:nvPr/>
        </p:nvSpPr>
        <p:spPr>
          <a:xfrm rot="19067306">
            <a:off x="2896371" y="2887275"/>
            <a:ext cx="3274909" cy="321449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949153" y="4412673"/>
            <a:ext cx="2103289" cy="2281405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6" name="Right Arrow 5"/>
          <p:cNvSpPr/>
          <p:nvPr/>
        </p:nvSpPr>
        <p:spPr>
          <a:xfrm rot="5400000">
            <a:off x="6455686" y="3971249"/>
            <a:ext cx="970891" cy="383011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6">
                <a:lumMod val="40000"/>
                <a:lumOff val="60000"/>
              </a:schemeClr>
            </a:gs>
            <a:gs pos="56000">
              <a:schemeClr val="accent3">
                <a:lumMod val="45000"/>
                <a:lumOff val="55000"/>
              </a:schemeClr>
            </a:gs>
            <a:gs pos="81000">
              <a:schemeClr val="accent2">
                <a:lumMod val="20000"/>
                <a:lumOff val="80000"/>
              </a:schemeClr>
            </a:gs>
            <a:gs pos="23000">
              <a:schemeClr val="accent3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81200" y="990600"/>
            <a:ext cx="5286375" cy="57340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" name="TextBox 8"/>
          <p:cNvSpPr txBox="1"/>
          <p:nvPr/>
        </p:nvSpPr>
        <p:spPr>
          <a:xfrm>
            <a:off x="1752600" y="228600"/>
            <a:ext cx="52922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 Black" pitchFamily="34" charset="0"/>
              </a:rPr>
              <a:t>3D Printed pen holder &amp; support bracket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40">
          <a:fgClr>
            <a:schemeClr val="accent4">
              <a:lumMod val="20000"/>
              <a:lumOff val="80000"/>
            </a:schemeClr>
          </a:fgClr>
          <a:bgClr>
            <a:schemeClr val="accent6">
              <a:lumMod val="20000"/>
              <a:lumOff val="8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667E27CA-DD1A-4AB9-80D9-E1590E06ECE8}"/>
              </a:ext>
            </a:extLst>
          </p:cNvPr>
          <p:cNvSpPr txBox="1"/>
          <p:nvPr/>
        </p:nvSpPr>
        <p:spPr>
          <a:xfrm>
            <a:off x="2690327" y="592522"/>
            <a:ext cx="4495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Visit to Industry</a:t>
            </a:r>
            <a:endParaRPr lang="en-IN" dirty="0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82F259F8-424D-41BE-8AB2-F950B12343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435969"/>
            <a:ext cx="2133600" cy="68243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CC680C0B-46EB-4E53-8588-A9DDCB49F7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927" y="1308869"/>
            <a:ext cx="6096000" cy="274266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A6DDAE30-C69C-4C00-9DA1-875B117A3A0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5800" y="4214287"/>
            <a:ext cx="4267200" cy="254991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TextBox 2"/>
          <p:cNvSpPr txBox="1"/>
          <p:nvPr/>
        </p:nvSpPr>
        <p:spPr>
          <a:xfrm>
            <a:off x="5943600" y="1447800"/>
            <a:ext cx="35052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2"/>
            <a:r>
              <a:rPr lang="en-US" u="sng" dirty="0" smtClean="0">
                <a:latin typeface="Arial" pitchFamily="34" charset="0"/>
                <a:cs typeface="Arial" pitchFamily="34" charset="0"/>
              </a:rPr>
              <a:t>1</a:t>
            </a:r>
            <a:r>
              <a:rPr lang="en-US" u="sng" baseline="30000" dirty="0" smtClean="0">
                <a:latin typeface="Arial" pitchFamily="34" charset="0"/>
                <a:cs typeface="Arial" pitchFamily="34" charset="0"/>
              </a:rPr>
              <a:t>st</a:t>
            </a:r>
            <a:r>
              <a:rPr lang="en-US" u="sng" dirty="0" smtClean="0">
                <a:latin typeface="Arial" pitchFamily="34" charset="0"/>
                <a:cs typeface="Arial" pitchFamily="34" charset="0"/>
              </a:rPr>
              <a:t> Visit D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Types of robo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Hands-on Experience on robo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Robot appl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itchFamily="34" charset="0"/>
                <a:cs typeface="Arial" pitchFamily="34" charset="0"/>
              </a:rPr>
              <a:t>Parts of robo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Feature sco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12618" y="4689143"/>
            <a:ext cx="33528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 smtClean="0">
                <a:latin typeface="Arial" pitchFamily="34" charset="0"/>
                <a:cs typeface="Arial" pitchFamily="34" charset="0"/>
              </a:rPr>
              <a:t>2</a:t>
            </a:r>
            <a:r>
              <a:rPr lang="en-US" u="sng" baseline="30000" dirty="0" smtClean="0">
                <a:latin typeface="Arial" pitchFamily="34" charset="0"/>
                <a:cs typeface="Arial" pitchFamily="34" charset="0"/>
              </a:rPr>
              <a:t>nd</a:t>
            </a:r>
            <a:r>
              <a:rPr lang="en-US" u="sng" dirty="0" smtClean="0">
                <a:latin typeface="Arial" pitchFamily="34" charset="0"/>
                <a:cs typeface="Arial" pitchFamily="34" charset="0"/>
              </a:rPr>
              <a:t> Vis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itchFamily="34" charset="0"/>
                <a:cs typeface="Arial" pitchFamily="34" charset="0"/>
              </a:rPr>
              <a:t>Basic of 3d prin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Hands-on on 3d prin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Procedure to give command to prin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95238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98000">
              <a:schemeClr val="tx2">
                <a:lumMod val="40000"/>
                <a:lumOff val="60000"/>
              </a:schemeClr>
            </a:gs>
            <a:gs pos="4000">
              <a:schemeClr val="accent2">
                <a:lumMod val="20000"/>
                <a:lumOff val="80000"/>
              </a:schemeClr>
            </a:gs>
            <a:gs pos="43000">
              <a:schemeClr val="accent3">
                <a:lumMod val="30000"/>
                <a:lumOff val="70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magnifying-glass-available-in-100mm-90mm-75mm-63mm-sizes--500x500-removebg-preview.png"/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t="12500" r="21574" b="23333"/>
          <a:stretch>
            <a:fillRect/>
          </a:stretch>
        </p:blipFill>
        <p:spPr>
          <a:xfrm>
            <a:off x="457200" y="-609600"/>
            <a:ext cx="9829800" cy="7342817"/>
          </a:xfrm>
          <a:ln>
            <a:noFill/>
          </a:ln>
          <a:effectLst>
            <a:outerShdw blurRad="127000" dist="228600" dir="15900000" sx="103000" sy="103000" algn="tl" rotWithShape="0">
              <a:prstClr val="black">
                <a:alpha val="33000"/>
              </a:prstClr>
            </a:outerShdw>
          </a:effectLst>
        </p:spPr>
      </p:pic>
      <p:sp>
        <p:nvSpPr>
          <p:cNvPr id="4" name="TextBox 3"/>
          <p:cNvSpPr txBox="1"/>
          <p:nvPr/>
        </p:nvSpPr>
        <p:spPr>
          <a:xfrm>
            <a:off x="609600" y="609600"/>
            <a:ext cx="381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i="1" u="sng" dirty="0"/>
              <a:t>Referenc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8E936A24-D65D-4C6E-B6CA-BB0A4D3E6426}"/>
              </a:ext>
            </a:extLst>
          </p:cNvPr>
          <p:cNvSpPr txBox="1"/>
          <p:nvPr/>
        </p:nvSpPr>
        <p:spPr>
          <a:xfrm>
            <a:off x="838200" y="1411307"/>
            <a:ext cx="7696200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alt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Y Plotter, Volume-6, issue-4,Oct-2018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ro troller based X-Y plotter, Volume.3, issue 3,Apr 2014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 Y drawing robot using Arduino, Volume6 issue 2,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, Implementation &amp; analysis pf Low cost robot for educational purpose, International Journal of Pure &amp; applied Mathematics, Vol. 118 No.16 2018, 213-230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books : </a:t>
            </a:r>
            <a:r>
              <a:rPr lang="en-IN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u</a:t>
            </a:r>
            <a:r>
              <a:rPr lang="en-IN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ttan</a:t>
            </a:r>
            <a:r>
              <a:rPr lang="en-IN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.K. , Robotics, I. K. International Publisher, </a:t>
            </a:r>
            <a:r>
              <a:rPr lang="en-IN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glore,Delhi</a:t>
            </a:r>
            <a:r>
              <a:rPr lang="en-IN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="" xmlns:a16="http://schemas.microsoft.com/office/drawing/2014/main" id="{79342EB8-1D68-4680-B99E-2BE14DB977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685800"/>
            <a:ext cx="8329992" cy="55626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5400000" scaled="1"/>
            <a:tileRect/>
          </a:gradFill>
          <a:effectLst/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">
              <a:schemeClr val="accent5">
                <a:lumMod val="40000"/>
                <a:lumOff val="60000"/>
              </a:schemeClr>
            </a:gs>
            <a:gs pos="100000">
              <a:schemeClr val="accent3">
                <a:lumMod val="20000"/>
                <a:lumOff val="8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00F3D7CC-A28A-4804-BA66-3410BBD8C5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7886700" cy="990600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INTRODUCTION OF ROBOT</a:t>
            </a:r>
            <a:endParaRPr lang="en-IN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5000" y="2057400"/>
            <a:ext cx="6908800" cy="5181600"/>
          </a:xfrm>
          <a:prstGeom prst="rect">
            <a:avLst/>
          </a:prstGeom>
        </p:spPr>
      </p:pic>
      <p:sp>
        <p:nvSpPr>
          <p:cNvPr id="5" name="Content Placeholder 4">
            <a:extLst>
              <a:ext uri="{FF2B5EF4-FFF2-40B4-BE49-F238E27FC236}">
                <a16:creationId xmlns="" xmlns:a16="http://schemas.microsoft.com/office/drawing/2014/main" id="{44D7EC76-A032-4E1D-AD41-C2B2800FE3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1219200"/>
            <a:ext cx="8382000" cy="50292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N" sz="2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What is Robot?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800" dirty="0">
                <a:latin typeface="Arial" panose="020B0604020202020204" pitchFamily="34" charset="0"/>
                <a:cs typeface="Times New Roman" panose="02020603050405020304" pitchFamily="18" charset="0"/>
              </a:rPr>
              <a:t>A robot is a type of automated machine that can execute specific tasks with little or no human intervention and with speed and precision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800" dirty="0">
                <a:latin typeface="Arial" panose="020B0604020202020204" pitchFamily="34" charset="0"/>
                <a:cs typeface="Times New Roman" panose="02020603050405020304" pitchFamily="18" charset="0"/>
              </a:rPr>
              <a:t>Robots are repeatable precision at al times, can perform multiple tasks simultaneously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wadays</a:t>
            </a:r>
            <a:r>
              <a:rPr lang="en-IN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re being extensively used in the field of Industry, education and entertainment.</a:t>
            </a:r>
            <a:endParaRPr lang="en-IN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sz="1600" dirty="0">
              <a:latin typeface="Comic Sans MS" pitchFamily="66" charset="0"/>
            </a:endParaRPr>
          </a:p>
          <a:p>
            <a:pPr marL="0" indent="0">
              <a:buNone/>
            </a:pPr>
            <a:endParaRPr lang="en-IN" sz="2800" dirty="0">
              <a:latin typeface="Comic Sans MS" pitchFamily="66" charset="0"/>
              <a:cs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BDEB5464-D8BB-4587-9582-3C05729B47C6}"/>
              </a:ext>
            </a:extLst>
          </p:cNvPr>
          <p:cNvCxnSpPr>
            <a:cxnSpLocks/>
          </p:cNvCxnSpPr>
          <p:nvPr/>
        </p:nvCxnSpPr>
        <p:spPr>
          <a:xfrm flipV="1">
            <a:off x="0" y="762000"/>
            <a:ext cx="8686800" cy="1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3974335C-F470-4982-AAB7-4D76AAB1CF02}"/>
              </a:ext>
            </a:extLst>
          </p:cNvPr>
          <p:cNvSpPr txBox="1"/>
          <p:nvPr/>
        </p:nvSpPr>
        <p:spPr>
          <a:xfrm flipH="1">
            <a:off x="244150" y="4349840"/>
            <a:ext cx="4327849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-Y Axis Robot</a:t>
            </a:r>
          </a:p>
          <a:p>
            <a:r>
              <a:rPr lang="en-IN" sz="1800" dirty="0">
                <a:solidFill>
                  <a:srgbClr val="20212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bot operates in two axes of motion ("X" and "Y") </a:t>
            </a:r>
            <a:r>
              <a:rPr lang="en-IN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order to </a:t>
            </a:r>
            <a:r>
              <a:rPr lang="en-IN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form task of drawing &amp; writing like human.</a:t>
            </a:r>
            <a:endParaRPr lang="en-IN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IN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103376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6">
                <a:lumMod val="40000"/>
                <a:lumOff val="60000"/>
              </a:schemeClr>
            </a:gs>
            <a:gs pos="95000">
              <a:schemeClr val="accent2">
                <a:lumMod val="20000"/>
                <a:lumOff val="80000"/>
              </a:schemeClr>
            </a:gs>
            <a:gs pos="35000">
              <a:schemeClr val="accent2">
                <a:lumMod val="20000"/>
                <a:lumOff val="80000"/>
              </a:schemeClr>
            </a:gs>
            <a:gs pos="57000">
              <a:schemeClr val="accent5">
                <a:lumMod val="30000"/>
                <a:lumOff val="70000"/>
              </a:schemeClr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6" name="Table 419430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48104853"/>
              </p:ext>
            </p:extLst>
          </p:nvPr>
        </p:nvGraphicFramePr>
        <p:xfrm>
          <a:off x="76200" y="762000"/>
          <a:ext cx="9111342" cy="6063304"/>
        </p:xfrm>
        <a:graphic>
          <a:graphicData uri="http://schemas.openxmlformats.org/drawingml/2006/table">
            <a:tbl>
              <a:tblPr/>
              <a:tblGrid>
                <a:gridCol w="60742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9077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9077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3137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2860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904999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1765624">
                <a:tc>
                  <a:txBody>
                    <a:bodyPr/>
                    <a:lstStyle/>
                    <a:p>
                      <a:pPr lvl="0" algn="ctr" eaLnBrk="1" latinLnBrk="1" hangingPunct="1"/>
                      <a:r>
                        <a:rPr lang="en-US" altLang="en-US" sz="1800" b="1" dirty="0" err="1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Sr.No</a:t>
                      </a:r>
                      <a:r>
                        <a:rPr lang="en-US" altLang="en-US" sz="1800" b="1" dirty="0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eaLnBrk="1" latinLnBrk="1" hangingPunct="1"/>
                      <a:endParaRPr lang="en-US" altLang="en-US" b="1" dirty="0">
                        <a:solidFill>
                          <a:srgbClr val="FFFFFF"/>
                        </a:solidFill>
                        <a:latin typeface="Lucida Sans Unicode" pitchFamily="34" charset="0"/>
                      </a:endParaRPr>
                    </a:p>
                    <a:p>
                      <a:pPr lvl="0" algn="ctr" eaLnBrk="1" latinLnBrk="1" hangingPunct="1"/>
                      <a:r>
                        <a:rPr lang="en-US" altLang="en-US" sz="1800" b="1" dirty="0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Name of Author/s</a:t>
                      </a:r>
                    </a:p>
                    <a:p>
                      <a:pPr lvl="0" algn="ctr" eaLnBrk="1" latinLnBrk="1" hangingPunct="1"/>
                      <a:endParaRPr lang="en-US" altLang="en-US" b="1" dirty="0">
                        <a:solidFill>
                          <a:srgbClr val="FFFFFF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eaLnBrk="1" latinLnBrk="1" hangingPunct="1"/>
                      <a:endParaRPr lang="en-US" altLang="en-US" sz="1800" b="1" dirty="0">
                        <a:solidFill>
                          <a:srgbClr val="FFFFFF"/>
                        </a:solidFill>
                        <a:latin typeface="Lucida Sans Unicode" pitchFamily="34" charset="0"/>
                      </a:endParaRPr>
                    </a:p>
                    <a:p>
                      <a:pPr lvl="0" algn="ctr" eaLnBrk="1" latinLnBrk="1" hangingPunct="1"/>
                      <a:r>
                        <a:rPr lang="en-US" altLang="en-US" sz="1800" b="1" dirty="0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Title of </a:t>
                      </a:r>
                    </a:p>
                    <a:p>
                      <a:pPr lvl="0" algn="ctr" eaLnBrk="1" latinLnBrk="1" hangingPunct="1"/>
                      <a:r>
                        <a:rPr lang="en-US" altLang="en-US" sz="1800" b="1" dirty="0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the Paper </a:t>
                      </a:r>
                    </a:p>
                    <a:p>
                      <a:pPr lvl="0" algn="ctr" eaLnBrk="1" latinLnBrk="1" hangingPunct="1"/>
                      <a:endParaRPr lang="en-US" altLang="en-US" b="1" dirty="0">
                        <a:solidFill>
                          <a:srgbClr val="FFFFFF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eaLnBrk="1" latinLnBrk="1" hangingPunct="1"/>
                      <a:endParaRPr lang="en-US" altLang="en-US" sz="1800" b="1" dirty="0">
                        <a:solidFill>
                          <a:srgbClr val="FFFFFF"/>
                        </a:solidFill>
                        <a:latin typeface="Lucida Sans Unicode" pitchFamily="34" charset="0"/>
                      </a:endParaRPr>
                    </a:p>
                    <a:p>
                      <a:pPr lvl="0" algn="ctr" eaLnBrk="1" latinLnBrk="1" hangingPunct="1"/>
                      <a:r>
                        <a:rPr lang="en-US" altLang="en-US" sz="1800" b="1" dirty="0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Name of the </a:t>
                      </a:r>
                    </a:p>
                    <a:p>
                      <a:pPr lvl="0" algn="ctr" eaLnBrk="1" latinLnBrk="1" hangingPunct="1"/>
                      <a:r>
                        <a:rPr lang="en-US" altLang="en-US" sz="1800" b="1" dirty="0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Journal</a:t>
                      </a:r>
                    </a:p>
                    <a:p>
                      <a:pPr lvl="0" algn="ctr" eaLnBrk="1" latinLnBrk="1" hangingPunct="1"/>
                      <a:r>
                        <a:rPr lang="en-US" altLang="en-US" sz="1800" b="1" dirty="0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(Vol. No. Year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eaLnBrk="1" latinLnBrk="1" hangingPunct="1"/>
                      <a:endParaRPr lang="en-US" altLang="en-US" sz="1800" b="1" dirty="0">
                        <a:solidFill>
                          <a:srgbClr val="FFFFFF"/>
                        </a:solidFill>
                        <a:latin typeface="Lucida Sans Unicode" pitchFamily="34" charset="0"/>
                      </a:endParaRPr>
                    </a:p>
                    <a:p>
                      <a:pPr lvl="0" algn="ctr" eaLnBrk="1" latinLnBrk="1" hangingPunct="1"/>
                      <a:r>
                        <a:rPr lang="en-US" altLang="en-US" sz="1800" b="1" dirty="0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Relevant </a:t>
                      </a:r>
                    </a:p>
                    <a:p>
                      <a:pPr lvl="0" algn="ctr" eaLnBrk="1" latinLnBrk="1" hangingPunct="1"/>
                      <a:r>
                        <a:rPr lang="en-US" altLang="en-US" sz="1800" b="1" dirty="0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Finding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eaLnBrk="1" latinLnBrk="1" hangingPunct="1"/>
                      <a:endParaRPr lang="en-US" altLang="en-US" sz="1800" b="1" dirty="0">
                        <a:solidFill>
                          <a:srgbClr val="FFFFFF"/>
                        </a:solidFill>
                        <a:latin typeface="Lucida Sans Unicode" pitchFamily="34" charset="0"/>
                      </a:endParaRPr>
                    </a:p>
                    <a:p>
                      <a:pPr lvl="0" algn="ctr" eaLnBrk="1" latinLnBrk="1" hangingPunct="1"/>
                      <a:r>
                        <a:rPr lang="en-US" altLang="en-US" sz="1800" b="1" dirty="0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Literature </a:t>
                      </a:r>
                    </a:p>
                    <a:p>
                      <a:pPr lvl="0" algn="ctr" eaLnBrk="1" latinLnBrk="1" hangingPunct="1"/>
                      <a:r>
                        <a:rPr lang="en-US" altLang="en-US" sz="1800" b="1" dirty="0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Ga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51752">
                <a:tc>
                  <a:txBody>
                    <a:bodyPr/>
                    <a:lstStyle/>
                    <a:p>
                      <a:pPr lvl="0" algn="ctr" eaLnBrk="1" latinLnBrk="1" hangingPunct="1"/>
                      <a:r>
                        <a:rPr lang="en-US" altLang="en-US" sz="1800" b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0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altLang="en-US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1)Sidharth Tripathi</a:t>
                      </a:r>
                    </a:p>
                    <a:p>
                      <a:pPr lvl="0" algn="l" eaLnBrk="1" latinLnBrk="1" hangingPunct="1"/>
                      <a:r>
                        <a:rPr lang="en-US" altLang="en-US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2)Dev Joshi</a:t>
                      </a:r>
                    </a:p>
                    <a:p>
                      <a:pPr lvl="0" algn="l" eaLnBrk="1" latinLnBrk="1" hangingPunct="1"/>
                      <a:r>
                        <a:rPr lang="en-US" altLang="en-US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3)Beauty sharma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altLang="en-US" dirty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XY Plott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altLang="en-US" dirty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Volume-6, issue-4,Oct-201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altLang="en-US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For efficient work of robot they used polargraph server Arduino based program and polar gharph processing software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altLang="en-US" dirty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We can use this robot for cutting, engraving. By replacing pen with tool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0E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850364">
                <a:tc>
                  <a:txBody>
                    <a:bodyPr/>
                    <a:lstStyle/>
                    <a:p>
                      <a:pPr lvl="0" algn="ctr" eaLnBrk="1" latinLnBrk="1" hangingPunct="1"/>
                      <a:r>
                        <a:rPr lang="en-US" altLang="en-US" sz="1800" b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0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altLang="en-US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1)Mrs.R.Dayna</a:t>
                      </a:r>
                    </a:p>
                    <a:p>
                      <a:pPr lvl="0" algn="l" eaLnBrk="1" latinLnBrk="1" hangingPunct="1"/>
                      <a:r>
                        <a:rPr lang="en-US" altLang="en-US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2)Gunaseelan 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altLang="en-US" dirty="0" smtClean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Microcontroller </a:t>
                      </a:r>
                      <a:r>
                        <a:rPr lang="en-US" altLang="en-US" dirty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based X-Y plott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altLang="en-US" dirty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Volume.3, issue 3,Apr 201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altLang="en-US" dirty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1)low power consumable </a:t>
                      </a:r>
                      <a:r>
                        <a:rPr lang="en-US" altLang="en-US" dirty="0" smtClean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microcontroller </a:t>
                      </a:r>
                      <a:r>
                        <a:rPr lang="en-US" altLang="en-US" dirty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(MSP430) is used. Which consume 3.5v input</a:t>
                      </a:r>
                    </a:p>
                    <a:p>
                      <a:pPr lvl="0" algn="l" eaLnBrk="1" latinLnBrk="1" hangingPunct="1"/>
                      <a:r>
                        <a:rPr lang="en-US" altLang="en-US" dirty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2)For better accuracy draper motor is </a:t>
                      </a:r>
                      <a:r>
                        <a:rPr lang="en-US" altLang="en-US" dirty="0" err="1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uesd</a:t>
                      </a:r>
                      <a:r>
                        <a:rPr lang="en-US" altLang="en-US" dirty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altLang="en-US" dirty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We can convert this mechanism in to 3 axis movement.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0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8DBB5C7E-7B84-4E64-8B41-0B2369350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752600" y="117727"/>
            <a:ext cx="7886700" cy="623491"/>
          </a:xfrm>
        </p:spPr>
        <p:txBody>
          <a:bodyPr>
            <a:normAutofit/>
          </a:bodyPr>
          <a:lstStyle/>
          <a:p>
            <a:r>
              <a:rPr lang="en-US" sz="3100" dirty="0">
                <a:latin typeface="Arial" panose="020B0604020202020204" pitchFamily="34" charset="0"/>
                <a:cs typeface="Arial" panose="020B0604020202020204" pitchFamily="34" charset="0"/>
              </a:rPr>
              <a:t>LITERATURE REVIEW</a:t>
            </a:r>
            <a:endParaRPr lang="en-IN" sz="3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6">
                <a:lumMod val="40000"/>
                <a:lumOff val="60000"/>
              </a:schemeClr>
            </a:gs>
            <a:gs pos="95000">
              <a:schemeClr val="accent2">
                <a:lumMod val="20000"/>
                <a:lumOff val="80000"/>
              </a:schemeClr>
            </a:gs>
            <a:gs pos="35000">
              <a:schemeClr val="accent2">
                <a:lumMod val="20000"/>
                <a:lumOff val="80000"/>
              </a:schemeClr>
            </a:gs>
            <a:gs pos="57000">
              <a:schemeClr val="accent5">
                <a:lumMod val="30000"/>
                <a:lumOff val="70000"/>
              </a:schemeClr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5" name="Table 4194304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089470872"/>
              </p:ext>
            </p:extLst>
          </p:nvPr>
        </p:nvGraphicFramePr>
        <p:xfrm>
          <a:off x="0" y="914400"/>
          <a:ext cx="9144000" cy="5943601"/>
        </p:xfrm>
        <a:graphic>
          <a:graphicData uri="http://schemas.openxmlformats.org/drawingml/2006/table">
            <a:tbl>
              <a:tblPr/>
              <a:tblGrid>
                <a:gridCol w="6096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002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7635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9065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2860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98120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1827595">
                <a:tc>
                  <a:txBody>
                    <a:bodyPr/>
                    <a:lstStyle/>
                    <a:p>
                      <a:pPr lvl="0" algn="ctr" eaLnBrk="1" latinLnBrk="1" hangingPunct="1"/>
                      <a:r>
                        <a:rPr lang="en-US" altLang="en-US" sz="1800" b="1" dirty="0" err="1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Sr.No</a:t>
                      </a:r>
                      <a:r>
                        <a:rPr lang="en-US" altLang="en-US" sz="1800" b="1" dirty="0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eaLnBrk="1" latinLnBrk="1" hangingPunct="1"/>
                      <a:endParaRPr lang="en-US" altLang="en-US" b="1" dirty="0">
                        <a:solidFill>
                          <a:srgbClr val="FFFFFF"/>
                        </a:solidFill>
                        <a:latin typeface="Lucida Sans Unicode" pitchFamily="34" charset="0"/>
                      </a:endParaRPr>
                    </a:p>
                    <a:p>
                      <a:pPr lvl="0" algn="ctr" eaLnBrk="1" latinLnBrk="1" hangingPunct="1"/>
                      <a:r>
                        <a:rPr lang="en-US" altLang="en-US" sz="1800" b="1" dirty="0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Name of Author/s</a:t>
                      </a:r>
                    </a:p>
                    <a:p>
                      <a:pPr lvl="0" algn="ctr" eaLnBrk="1" latinLnBrk="1" hangingPunct="1"/>
                      <a:endParaRPr lang="en-US" altLang="en-US" b="1" dirty="0">
                        <a:solidFill>
                          <a:srgbClr val="FFFFFF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eaLnBrk="1" latinLnBrk="1" hangingPunct="1"/>
                      <a:r>
                        <a:rPr lang="en-US" altLang="en-US" sz="1800" b="1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Title of the Paper </a:t>
                      </a:r>
                    </a:p>
                    <a:p>
                      <a:pPr lvl="0" algn="ctr" eaLnBrk="1" latinLnBrk="1" hangingPunct="1"/>
                      <a:endParaRPr lang="en-US" altLang="en-US" b="1">
                        <a:solidFill>
                          <a:srgbClr val="FFFFFF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eaLnBrk="1" latinLnBrk="1" hangingPunct="1"/>
                      <a:r>
                        <a:rPr lang="en-US" altLang="en-US" sz="1800" b="1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Name of the Journal</a:t>
                      </a:r>
                    </a:p>
                    <a:p>
                      <a:pPr lvl="0" algn="ctr" eaLnBrk="1" latinLnBrk="1" hangingPunct="1"/>
                      <a:r>
                        <a:rPr lang="en-US" altLang="en-US" sz="1800" b="1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(Vol. No. Year)</a:t>
                      </a:r>
                    </a:p>
                    <a:p>
                      <a:pPr lvl="0" algn="ctr" eaLnBrk="1" latinLnBrk="1" hangingPunct="1"/>
                      <a:endParaRPr lang="en-US" altLang="en-US" b="1">
                        <a:solidFill>
                          <a:srgbClr val="FFFFFF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eaLnBrk="1" latinLnBrk="1" hangingPunct="1"/>
                      <a:endParaRPr lang="en-US" altLang="en-US" b="1" dirty="0">
                        <a:solidFill>
                          <a:srgbClr val="FFFFFF"/>
                        </a:solidFill>
                        <a:latin typeface="Lucida Sans Unicode" pitchFamily="34" charset="0"/>
                      </a:endParaRPr>
                    </a:p>
                    <a:p>
                      <a:pPr lvl="0" algn="ctr" eaLnBrk="1" latinLnBrk="1" hangingPunct="1"/>
                      <a:r>
                        <a:rPr lang="en-US" altLang="en-US" sz="1800" b="1" dirty="0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Relevant Finding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eaLnBrk="1" latinLnBrk="1" hangingPunct="1"/>
                      <a:r>
                        <a:rPr lang="en-US" altLang="en-US" sz="1800" b="1" dirty="0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Literature Ga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58003">
                <a:tc>
                  <a:txBody>
                    <a:bodyPr/>
                    <a:lstStyle/>
                    <a:p>
                      <a:pPr lvl="0" algn="ctr" eaLnBrk="1" latinLnBrk="1" hangingPunct="1"/>
                      <a:r>
                        <a:rPr lang="en-US" altLang="en-US" sz="1800" b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0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altLang="en-US" dirty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1)Saurabh Sharma</a:t>
                      </a:r>
                    </a:p>
                    <a:p>
                      <a:pPr lvl="0" algn="l" eaLnBrk="1" latinLnBrk="1" hangingPunct="1"/>
                      <a:r>
                        <a:rPr lang="en-US" altLang="en-US" dirty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2)Harish</a:t>
                      </a:r>
                    </a:p>
                    <a:p>
                      <a:pPr lvl="0" algn="l" eaLnBrk="1" latinLnBrk="1" hangingPunct="1"/>
                      <a:r>
                        <a:rPr lang="en-US" altLang="en-US" dirty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3)S.B </a:t>
                      </a:r>
                      <a:r>
                        <a:rPr lang="en-US" altLang="en-US" dirty="0" err="1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Nikam</a:t>
                      </a:r>
                      <a:endParaRPr lang="en-US" altLang="en-US" dirty="0">
                        <a:solidFill>
                          <a:srgbClr val="000000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altLang="en-US" dirty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X Y drawing robot using Arduin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altLang="en-US" dirty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Volume6 issue 2,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altLang="en-US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To raise and lower the pen spring is used. And stepper motor is used for moving pen. 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altLang="en-US" dirty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We can modify this system by using </a:t>
                      </a:r>
                      <a:r>
                        <a:rPr lang="en-US" altLang="en-US" dirty="0" smtClean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scalar </a:t>
                      </a:r>
                      <a:r>
                        <a:rPr lang="en-US" altLang="en-US" dirty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vector graphics ,(SVG)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0E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058003">
                <a:tc>
                  <a:txBody>
                    <a:bodyPr/>
                    <a:lstStyle/>
                    <a:p>
                      <a:pPr lvl="0" algn="ctr" eaLnBrk="1" latinLnBrk="1" hangingPunct="1"/>
                      <a:r>
                        <a:rPr lang="en-US" altLang="en-US" sz="1800" b="0" dirty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0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rtl="0" eaLnBrk="1" latinLnBrk="1" hangingPunct="1"/>
                      <a:r>
                        <a:rPr lang="en-IN" dirty="0" smtClean="0"/>
                        <a:t>1.Rowjatul </a:t>
                      </a:r>
                      <a:r>
                        <a:rPr lang="en-IN" dirty="0" err="1" smtClean="0"/>
                        <a:t>Zannat</a:t>
                      </a:r>
                      <a:r>
                        <a:rPr lang="en-IN" dirty="0" smtClean="0"/>
                        <a:t> </a:t>
                      </a:r>
                      <a:r>
                        <a:rPr lang="en-IN" dirty="0" err="1" smtClean="0"/>
                        <a:t>Eshita</a:t>
                      </a:r>
                      <a:endParaRPr lang="en-IN" dirty="0" smtClean="0"/>
                    </a:p>
                    <a:p>
                      <a:pPr marL="0" lvl="0" algn="l" rtl="0" eaLnBrk="1" latinLnBrk="1" hangingPunct="1"/>
                      <a:r>
                        <a:rPr lang="en-IN" dirty="0" smtClean="0"/>
                        <a:t>2.Tanwy </a:t>
                      </a:r>
                      <a:r>
                        <a:rPr lang="en-IN" dirty="0" err="1" smtClean="0"/>
                        <a:t>Barua</a:t>
                      </a:r>
                      <a:endParaRPr lang="en-IN" dirty="0" smtClean="0"/>
                    </a:p>
                    <a:p>
                      <a:pPr marL="0" lvl="0" algn="l" rtl="0" eaLnBrk="1" latinLnBrk="1" hangingPunct="1"/>
                      <a:r>
                        <a:rPr lang="en-IN" dirty="0" smtClean="0"/>
                        <a:t>3.Arzon </a:t>
                      </a:r>
                      <a:r>
                        <a:rPr lang="en-IN" dirty="0" err="1" smtClean="0"/>
                        <a:t>Barua</a:t>
                      </a:r>
                      <a:endParaRPr lang="en-IN" dirty="0" smtClean="0"/>
                    </a:p>
                    <a:p>
                      <a:pPr marL="0" lvl="0" algn="l" rtl="0" eaLnBrk="1" latinLnBrk="1" hangingPunct="1"/>
                      <a:r>
                        <a:rPr lang="en-IN" dirty="0" smtClean="0"/>
                        <a:t>4.Anik </a:t>
                      </a:r>
                      <a:r>
                        <a:rPr lang="en-IN" dirty="0" err="1" smtClean="0"/>
                        <a:t>Mahamood</a:t>
                      </a:r>
                      <a:r>
                        <a:rPr lang="en-IN" dirty="0" smtClean="0"/>
                        <a:t> Dip</a:t>
                      </a:r>
                      <a:endParaRPr kumimoji="0" lang="pt-BR" kern="1200" dirty="0">
                        <a:solidFill>
                          <a:srgbClr val="000000"/>
                        </a:solidFill>
                        <a:latin typeface="Lucida Sans Unicode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dirty="0" smtClean="0"/>
                        <a:t>Bluetooth Based Android Controlled Robot</a:t>
                      </a:r>
                      <a:endParaRPr lang="en-US" altLang="en-US" dirty="0">
                        <a:solidFill>
                          <a:srgbClr val="000000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IN" dirty="0" smtClean="0"/>
                        <a:t>Volume-5, Issue-3, pp-195-199</a:t>
                      </a:r>
                      <a:endParaRPr lang="en-US" altLang="en-US" dirty="0">
                        <a:solidFill>
                          <a:srgbClr val="000000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altLang="en-US" dirty="0" smtClean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To </a:t>
                      </a:r>
                      <a:r>
                        <a:rPr lang="en-US" dirty="0" smtClean="0"/>
                        <a:t>designing a Robot that can be operated using Android Apps using Bluetooth sensor</a:t>
                      </a:r>
                      <a:endParaRPr lang="en-US" altLang="en-US" dirty="0">
                        <a:solidFill>
                          <a:srgbClr val="000000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dirty="0" smtClean="0"/>
                        <a:t>A Robot can Mount with camera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0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7C356B01-F1B8-44C8-8CD7-841D1BDA24FB}"/>
              </a:ext>
            </a:extLst>
          </p:cNvPr>
          <p:cNvSpPr txBox="1"/>
          <p:nvPr/>
        </p:nvSpPr>
        <p:spPr>
          <a:xfrm>
            <a:off x="0" y="152400"/>
            <a:ext cx="4590660" cy="5693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100" dirty="0">
                <a:latin typeface="Arial" panose="020B0604020202020204" pitchFamily="34" charset="0"/>
                <a:cs typeface="Arial" panose="020B0604020202020204" pitchFamily="34" charset="0"/>
              </a:rPr>
              <a:t>LITERATURE REVIEW</a:t>
            </a:r>
            <a:endParaRPr lang="en-IN" sz="3100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3999" cy="7602306"/>
          </a:xfrm>
          <a:prstGeom prst="rect">
            <a:avLst/>
          </a:prstGeom>
        </p:spPr>
      </p:pic>
      <p:graphicFrame>
        <p:nvGraphicFramePr>
          <p:cNvPr id="4194305" name="Table 4194304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208999847"/>
              </p:ext>
            </p:extLst>
          </p:nvPr>
        </p:nvGraphicFramePr>
        <p:xfrm>
          <a:off x="0" y="1066800"/>
          <a:ext cx="9144000" cy="6322759"/>
        </p:xfrm>
        <a:graphic>
          <a:graphicData uri="http://schemas.openxmlformats.org/drawingml/2006/table">
            <a:tbl>
              <a:tblPr/>
              <a:tblGrid>
                <a:gridCol w="6096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526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430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2860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98120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1769667">
                <a:tc>
                  <a:txBody>
                    <a:bodyPr/>
                    <a:lstStyle/>
                    <a:p>
                      <a:pPr lvl="0" algn="ctr" eaLnBrk="1" latinLnBrk="1" hangingPunct="1"/>
                      <a:r>
                        <a:rPr lang="en-US" altLang="en-US" sz="1800" b="1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Sr.No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eaLnBrk="1" latinLnBrk="1" hangingPunct="1"/>
                      <a:endParaRPr lang="en-US" altLang="en-US" b="1" dirty="0">
                        <a:solidFill>
                          <a:srgbClr val="FFFFFF"/>
                        </a:solidFill>
                        <a:latin typeface="Lucida Sans Unicode" pitchFamily="34" charset="0"/>
                      </a:endParaRPr>
                    </a:p>
                    <a:p>
                      <a:pPr lvl="0" algn="ctr" eaLnBrk="1" latinLnBrk="1" hangingPunct="1"/>
                      <a:r>
                        <a:rPr lang="en-US" altLang="en-US" sz="1800" b="1" dirty="0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Name of Author/s</a:t>
                      </a:r>
                    </a:p>
                    <a:p>
                      <a:pPr lvl="0" algn="ctr" eaLnBrk="1" latinLnBrk="1" hangingPunct="1"/>
                      <a:endParaRPr lang="en-US" altLang="en-US" b="1" dirty="0">
                        <a:solidFill>
                          <a:srgbClr val="FFFFFF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eaLnBrk="1" latinLnBrk="1" hangingPunct="1"/>
                      <a:r>
                        <a:rPr lang="en-US" altLang="en-US" sz="1800" b="1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Title of the Paper </a:t>
                      </a:r>
                    </a:p>
                    <a:p>
                      <a:pPr lvl="0" algn="ctr" eaLnBrk="1" latinLnBrk="1" hangingPunct="1"/>
                      <a:endParaRPr lang="en-US" altLang="en-US" b="1">
                        <a:solidFill>
                          <a:srgbClr val="FFFFFF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eaLnBrk="1" latinLnBrk="1" hangingPunct="1"/>
                      <a:r>
                        <a:rPr lang="en-US" altLang="en-US" sz="1800" b="1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Name of the Journal</a:t>
                      </a:r>
                    </a:p>
                    <a:p>
                      <a:pPr lvl="0" algn="ctr" eaLnBrk="1" latinLnBrk="1" hangingPunct="1"/>
                      <a:r>
                        <a:rPr lang="en-US" altLang="en-US" sz="1800" b="1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(Vol. No. Year)</a:t>
                      </a:r>
                    </a:p>
                    <a:p>
                      <a:pPr lvl="0" algn="ctr" eaLnBrk="1" latinLnBrk="1" hangingPunct="1"/>
                      <a:endParaRPr lang="en-US" altLang="en-US" b="1">
                        <a:solidFill>
                          <a:srgbClr val="FFFFFF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eaLnBrk="1" latinLnBrk="1" hangingPunct="1"/>
                      <a:endParaRPr lang="en-US" altLang="en-US" b="1" dirty="0">
                        <a:solidFill>
                          <a:srgbClr val="FFFFFF"/>
                        </a:solidFill>
                        <a:latin typeface="Lucida Sans Unicode" pitchFamily="34" charset="0"/>
                      </a:endParaRPr>
                    </a:p>
                    <a:p>
                      <a:pPr lvl="0" algn="ctr" eaLnBrk="1" latinLnBrk="1" hangingPunct="1"/>
                      <a:r>
                        <a:rPr lang="en-US" altLang="en-US" sz="1800" b="1" dirty="0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Relevant Finding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eaLnBrk="1" latinLnBrk="1" hangingPunct="1"/>
                      <a:r>
                        <a:rPr lang="en-US" altLang="en-US" sz="1800" b="1">
                          <a:solidFill>
                            <a:srgbClr val="FFFFFF"/>
                          </a:solidFill>
                          <a:latin typeface="Lucida Sans Unicode" pitchFamily="34" charset="0"/>
                        </a:rPr>
                        <a:t>Literature Ga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92772">
                <a:tc>
                  <a:txBody>
                    <a:bodyPr/>
                    <a:lstStyle/>
                    <a:p>
                      <a:pPr lvl="0" algn="ctr" eaLnBrk="1" latinLnBrk="1" hangingPunct="1"/>
                      <a:r>
                        <a:rPr lang="en-US" altLang="en-US" sz="1800" b="0" dirty="0" smtClean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05</a:t>
                      </a:r>
                      <a:endParaRPr lang="en-US" altLang="en-US" sz="1800" b="0" dirty="0">
                        <a:solidFill>
                          <a:srgbClr val="000000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IN" dirty="0" smtClean="0"/>
                        <a:t>1.Kaustubh </a:t>
                      </a:r>
                      <a:r>
                        <a:rPr lang="en-IN" dirty="0" err="1" smtClean="0"/>
                        <a:t>Gawli</a:t>
                      </a:r>
                      <a:endParaRPr lang="en-IN" dirty="0" smtClean="0"/>
                    </a:p>
                    <a:p>
                      <a:pPr lvl="0" algn="l" eaLnBrk="1" latinLnBrk="1" hangingPunct="1"/>
                      <a:r>
                        <a:rPr lang="en-IN" dirty="0" smtClean="0"/>
                        <a:t>2.Parinay </a:t>
                      </a:r>
                      <a:r>
                        <a:rPr lang="en-IN" dirty="0" err="1" smtClean="0"/>
                        <a:t>Karande</a:t>
                      </a:r>
                      <a:endParaRPr lang="en-IN" dirty="0" smtClean="0"/>
                    </a:p>
                    <a:p>
                      <a:pPr lvl="0" algn="l" eaLnBrk="1" latinLnBrk="1" hangingPunct="1"/>
                      <a:r>
                        <a:rPr lang="en-IN" dirty="0" smtClean="0"/>
                        <a:t>3.Pravin </a:t>
                      </a:r>
                      <a:r>
                        <a:rPr lang="en-IN" dirty="0" err="1" smtClean="0"/>
                        <a:t>Belos</a:t>
                      </a:r>
                      <a:endParaRPr lang="en-IN" dirty="0" smtClean="0"/>
                    </a:p>
                    <a:p>
                      <a:pPr lvl="0" algn="l" eaLnBrk="1" latinLnBrk="1" hangingPunct="1"/>
                      <a:r>
                        <a:rPr lang="en-IN" dirty="0" smtClean="0"/>
                        <a:t>4.Tushar </a:t>
                      </a:r>
                      <a:r>
                        <a:rPr lang="en-IN" dirty="0" err="1" smtClean="0"/>
                        <a:t>Bhadirke</a:t>
                      </a:r>
                      <a:endParaRPr lang="en-IN" dirty="0" smtClean="0"/>
                    </a:p>
                    <a:p>
                      <a:pPr lvl="0" algn="l" eaLnBrk="1" latinLnBrk="1" hangingPunct="1"/>
                      <a:r>
                        <a:rPr lang="en-IN" dirty="0" smtClean="0"/>
                        <a:t>5.Akansha Bhargava </a:t>
                      </a:r>
                      <a:endParaRPr lang="en-US" altLang="en-US" dirty="0">
                        <a:solidFill>
                          <a:srgbClr val="000000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dirty="0" smtClean="0"/>
                        <a:t>INTERNET OF THINGS (IOT) BASED ROBOTIC ARM </a:t>
                      </a:r>
                      <a:endParaRPr lang="en-US" altLang="en-US" dirty="0">
                        <a:solidFill>
                          <a:srgbClr val="000000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IN" dirty="0" smtClean="0"/>
                        <a:t>Volume: 04 Issue: 03 | Mar -2017 </a:t>
                      </a:r>
                      <a:endParaRPr lang="en-US" altLang="en-US" dirty="0">
                        <a:solidFill>
                          <a:srgbClr val="000000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altLang="en-US" dirty="0" smtClean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They</a:t>
                      </a:r>
                      <a:r>
                        <a:rPr lang="en-US" altLang="en-US" baseline="0" dirty="0" smtClean="0">
                          <a:solidFill>
                            <a:srgbClr val="000000"/>
                          </a:solidFill>
                          <a:latin typeface="Lucida Sans Unicode" pitchFamily="34" charset="0"/>
                        </a:rPr>
                        <a:t> controlled robotic arm with of using IOT sensor which integrate mobile and pc</a:t>
                      </a:r>
                      <a:endParaRPr lang="en-US" altLang="en-US" dirty="0">
                        <a:solidFill>
                          <a:srgbClr val="000000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r>
                        <a:rPr lang="en-US" dirty="0" smtClean="0"/>
                        <a:t>We</a:t>
                      </a:r>
                      <a:r>
                        <a:rPr lang="en-US" baseline="0" dirty="0" smtClean="0"/>
                        <a:t> can </a:t>
                      </a:r>
                      <a:r>
                        <a:rPr lang="en-US" dirty="0" smtClean="0"/>
                        <a:t>make robot which</a:t>
                      </a:r>
                      <a:r>
                        <a:rPr lang="en-US" baseline="0" dirty="0" smtClean="0"/>
                        <a:t> can receive image through using IOT</a:t>
                      </a:r>
                      <a:endParaRPr lang="en-US" altLang="en-US" sz="1523" dirty="0">
                        <a:solidFill>
                          <a:srgbClr val="000000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0E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92772">
                <a:tc>
                  <a:txBody>
                    <a:bodyPr/>
                    <a:lstStyle/>
                    <a:p>
                      <a:pPr lvl="0" algn="ctr" eaLnBrk="1" latinLnBrk="1" hangingPunct="1"/>
                      <a:endParaRPr lang="en-US" altLang="en-US" sz="1800" b="0" dirty="0">
                        <a:solidFill>
                          <a:srgbClr val="000000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rtl="0" eaLnBrk="1" latinLnBrk="1" hangingPunct="1"/>
                      <a:endParaRPr kumimoji="0" lang="pt-BR" kern="1200" dirty="0">
                        <a:solidFill>
                          <a:srgbClr val="000000"/>
                        </a:solidFill>
                        <a:latin typeface="Lucida Sans Unicode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endParaRPr lang="en-US" altLang="en-US" dirty="0">
                        <a:solidFill>
                          <a:srgbClr val="000000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endParaRPr lang="en-US" altLang="en-US" dirty="0">
                        <a:solidFill>
                          <a:srgbClr val="000000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endParaRPr lang="en-US" altLang="en-US" dirty="0">
                        <a:solidFill>
                          <a:srgbClr val="000000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eaLnBrk="1" latinLnBrk="1" hangingPunct="1"/>
                      <a:endParaRPr lang="en-US" altLang="en-US" dirty="0">
                        <a:solidFill>
                          <a:srgbClr val="000000"/>
                        </a:solidFill>
                        <a:latin typeface="Lucida Sans Unicode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0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277739"/>
            <a:ext cx="4302140" cy="5693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100" dirty="0" smtClean="0">
                <a:latin typeface="Arial" panose="020B0604020202020204" pitchFamily="34" charset="0"/>
                <a:cs typeface="Arial" panose="020B0604020202020204" pitchFamily="34" charset="0"/>
              </a:rPr>
              <a:t>LITERATURE REVIEW</a:t>
            </a:r>
            <a:endParaRPr lang="en-IN" sz="2400" dirty="0"/>
          </a:p>
        </p:txBody>
      </p:sp>
    </p:spTree>
    <p:extLst>
      <p:ext uri="{BB962C8B-B14F-4D97-AF65-F5344CB8AC3E}">
        <p14:creationId xmlns="" xmlns:p14="http://schemas.microsoft.com/office/powerpoint/2010/main" val="18149973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7000">
              <a:schemeClr val="accent6">
                <a:lumMod val="60000"/>
                <a:lumOff val="40000"/>
              </a:schemeClr>
            </a:gs>
            <a:gs pos="74000">
              <a:schemeClr val="accent1">
                <a:lumMod val="0"/>
                <a:lumOff val="100000"/>
              </a:schemeClr>
            </a:gs>
            <a:gs pos="100000">
              <a:schemeClr val="accent1">
                <a:lumMod val="100000"/>
              </a:schemeClr>
            </a:gs>
          </a:gsLst>
          <a:path path="circle">
            <a:fillToRect l="50000" t="-80000" r="50000" b="18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>
            <a:extLst>
              <a:ext uri="{FF2B5EF4-FFF2-40B4-BE49-F238E27FC236}">
                <a16:creationId xmlns="" xmlns:a16="http://schemas.microsoft.com/office/drawing/2014/main" id="{6F734127-255E-474D-BCCC-A3AA4F81BD17}"/>
              </a:ext>
            </a:extLst>
          </p:cNvPr>
          <p:cNvGrpSpPr/>
          <p:nvPr/>
        </p:nvGrpSpPr>
        <p:grpSpPr>
          <a:xfrm>
            <a:off x="304800" y="152400"/>
            <a:ext cx="8686800" cy="6477000"/>
            <a:chOff x="2149338" y="1173385"/>
            <a:chExt cx="7088770" cy="5565347"/>
          </a:xfrm>
        </p:grpSpPr>
        <p:sp>
          <p:nvSpPr>
            <p:cNvPr id="37" name="Rectangle: Rounded Corners 36">
              <a:extLst>
                <a:ext uri="{FF2B5EF4-FFF2-40B4-BE49-F238E27FC236}">
                  <a16:creationId xmlns="" xmlns:a16="http://schemas.microsoft.com/office/drawing/2014/main" id="{D3126F18-B58C-497F-BF81-9CC940E9A7FE}"/>
                </a:ext>
              </a:extLst>
            </p:cNvPr>
            <p:cNvSpPr/>
            <p:nvPr/>
          </p:nvSpPr>
          <p:spPr>
            <a:xfrm>
              <a:off x="4944588" y="1173385"/>
              <a:ext cx="2792876" cy="636912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72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/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="" xmlns:a16="http://schemas.microsoft.com/office/drawing/2014/main" id="{0DC07F2F-6453-43AE-AF4F-C5AEF03BE3C0}"/>
                </a:ext>
              </a:extLst>
            </p:cNvPr>
            <p:cNvCxnSpPr>
              <a:cxnSpLocks/>
            </p:cNvCxnSpPr>
            <p:nvPr/>
          </p:nvCxnSpPr>
          <p:spPr>
            <a:xfrm>
              <a:off x="5973226" y="4433899"/>
              <a:ext cx="508794" cy="0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="" xmlns:a16="http://schemas.microsoft.com/office/drawing/2014/main" id="{53701FCF-1929-492F-BA0E-824446C1457F}"/>
                </a:ext>
              </a:extLst>
            </p:cNvPr>
            <p:cNvCxnSpPr>
              <a:cxnSpLocks/>
            </p:cNvCxnSpPr>
            <p:nvPr/>
          </p:nvCxnSpPr>
          <p:spPr>
            <a:xfrm>
              <a:off x="5973226" y="3425685"/>
              <a:ext cx="508794" cy="0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="" xmlns:a16="http://schemas.microsoft.com/office/drawing/2014/main" id="{8C191C8D-8AAB-405E-85BD-A1E4ED10662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21439" y="2387353"/>
              <a:ext cx="300572" cy="280165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="" xmlns:a16="http://schemas.microsoft.com/office/drawing/2014/main" id="{C254BC01-9D25-4A19-80D5-7B757D767483}"/>
                </a:ext>
              </a:extLst>
            </p:cNvPr>
            <p:cNvCxnSpPr>
              <a:cxnSpLocks/>
              <a:endCxn id="93" idx="5"/>
            </p:cNvCxnSpPr>
            <p:nvPr/>
          </p:nvCxnSpPr>
          <p:spPr>
            <a:xfrm flipH="1" flipV="1">
              <a:off x="5672655" y="5356186"/>
              <a:ext cx="300572" cy="280165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="" xmlns:a16="http://schemas.microsoft.com/office/drawing/2014/main" id="{14108687-EA62-4674-82F9-11E7E83F826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68089" y="5859470"/>
              <a:ext cx="352998" cy="439021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="" xmlns:a16="http://schemas.microsoft.com/office/drawing/2014/main" id="{38C1CA47-1702-4B3F-9B4E-B012E16DE6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71494" y="1692720"/>
              <a:ext cx="352998" cy="439021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Freeform: Shape 43">
              <a:extLst>
                <a:ext uri="{FF2B5EF4-FFF2-40B4-BE49-F238E27FC236}">
                  <a16:creationId xmlns="" xmlns:a16="http://schemas.microsoft.com/office/drawing/2014/main" id="{956CA6CD-0CA0-49A3-924E-DADD3ACF2A89}"/>
                </a:ext>
              </a:extLst>
            </p:cNvPr>
            <p:cNvSpPr/>
            <p:nvPr/>
          </p:nvSpPr>
          <p:spPr>
            <a:xfrm rot="10800000" flipH="1" flipV="1">
              <a:off x="3031888" y="4044095"/>
              <a:ext cx="1054593" cy="1450443"/>
            </a:xfrm>
            <a:custGeom>
              <a:avLst/>
              <a:gdLst>
                <a:gd name="connsiteX0" fmla="*/ 1336662 w 1366479"/>
                <a:gd name="connsiteY0" fmla="*/ 1879397 h 1879397"/>
                <a:gd name="connsiteX1" fmla="*/ 1306844 w 1366479"/>
                <a:gd name="connsiteY1" fmla="*/ 1877891 h 1879397"/>
                <a:gd name="connsiteX2" fmla="*/ 1140193 w 1366479"/>
                <a:gd name="connsiteY2" fmla="*/ 1869476 h 1879397"/>
                <a:gd name="connsiteX3" fmla="*/ 114368 w 1366479"/>
                <a:gd name="connsiteY3" fmla="*/ 1440605 h 1879397"/>
                <a:gd name="connsiteX4" fmla="*/ 0 w 1366479"/>
                <a:gd name="connsiteY4" fmla="*/ 1336661 h 1879397"/>
                <a:gd name="connsiteX5" fmla="*/ 1306844 w 1366479"/>
                <a:gd name="connsiteY5" fmla="*/ 29818 h 1879397"/>
                <a:gd name="connsiteX6" fmla="*/ 1336661 w 1366479"/>
                <a:gd name="connsiteY6" fmla="*/ 0 h 1879397"/>
                <a:gd name="connsiteX7" fmla="*/ 1366479 w 1366479"/>
                <a:gd name="connsiteY7" fmla="*/ 29818 h 1879397"/>
                <a:gd name="connsiteX8" fmla="*/ 1366479 w 1366479"/>
                <a:gd name="connsiteY8" fmla="*/ 1877891 h 187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6479" h="1879397">
                  <a:moveTo>
                    <a:pt x="1336662" y="1879397"/>
                  </a:moveTo>
                  <a:lnTo>
                    <a:pt x="1306844" y="1877891"/>
                  </a:lnTo>
                  <a:lnTo>
                    <a:pt x="1140193" y="1869476"/>
                  </a:lnTo>
                  <a:cubicBezTo>
                    <a:pt x="752609" y="1830115"/>
                    <a:pt x="399076" y="1675567"/>
                    <a:pt x="114368" y="1440605"/>
                  </a:cubicBezTo>
                  <a:lnTo>
                    <a:pt x="0" y="1336661"/>
                  </a:lnTo>
                  <a:lnTo>
                    <a:pt x="1306844" y="29818"/>
                  </a:lnTo>
                  <a:lnTo>
                    <a:pt x="1336661" y="0"/>
                  </a:lnTo>
                  <a:lnTo>
                    <a:pt x="1366479" y="29818"/>
                  </a:lnTo>
                  <a:lnTo>
                    <a:pt x="1366479" y="187789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="" xmlns:a16="http://schemas.microsoft.com/office/drawing/2014/main" id="{03086A70-4DF3-4596-B703-3EB170B536C9}"/>
                </a:ext>
              </a:extLst>
            </p:cNvPr>
            <p:cNvSpPr/>
            <p:nvPr/>
          </p:nvSpPr>
          <p:spPr>
            <a:xfrm rot="10800000" flipH="1">
              <a:off x="2991669" y="2531167"/>
              <a:ext cx="1054593" cy="1450443"/>
            </a:xfrm>
            <a:custGeom>
              <a:avLst/>
              <a:gdLst>
                <a:gd name="connsiteX0" fmla="*/ 1336662 w 1366479"/>
                <a:gd name="connsiteY0" fmla="*/ 1879397 h 1879397"/>
                <a:gd name="connsiteX1" fmla="*/ 1306844 w 1366479"/>
                <a:gd name="connsiteY1" fmla="*/ 1877891 h 1879397"/>
                <a:gd name="connsiteX2" fmla="*/ 1140193 w 1366479"/>
                <a:gd name="connsiteY2" fmla="*/ 1869476 h 1879397"/>
                <a:gd name="connsiteX3" fmla="*/ 114368 w 1366479"/>
                <a:gd name="connsiteY3" fmla="*/ 1440605 h 1879397"/>
                <a:gd name="connsiteX4" fmla="*/ 0 w 1366479"/>
                <a:gd name="connsiteY4" fmla="*/ 1336661 h 1879397"/>
                <a:gd name="connsiteX5" fmla="*/ 1306844 w 1366479"/>
                <a:gd name="connsiteY5" fmla="*/ 29818 h 1879397"/>
                <a:gd name="connsiteX6" fmla="*/ 1336661 w 1366479"/>
                <a:gd name="connsiteY6" fmla="*/ 0 h 1879397"/>
                <a:gd name="connsiteX7" fmla="*/ 1366479 w 1366479"/>
                <a:gd name="connsiteY7" fmla="*/ 29818 h 1879397"/>
                <a:gd name="connsiteX8" fmla="*/ 1366479 w 1366479"/>
                <a:gd name="connsiteY8" fmla="*/ 1877891 h 187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6479" h="1879397">
                  <a:moveTo>
                    <a:pt x="1336662" y="1879397"/>
                  </a:moveTo>
                  <a:lnTo>
                    <a:pt x="1306844" y="1877891"/>
                  </a:lnTo>
                  <a:lnTo>
                    <a:pt x="1140193" y="1869476"/>
                  </a:lnTo>
                  <a:cubicBezTo>
                    <a:pt x="752609" y="1830115"/>
                    <a:pt x="399076" y="1675567"/>
                    <a:pt x="114368" y="1440605"/>
                  </a:cubicBezTo>
                  <a:lnTo>
                    <a:pt x="0" y="1336661"/>
                  </a:lnTo>
                  <a:lnTo>
                    <a:pt x="1306844" y="29818"/>
                  </a:lnTo>
                  <a:lnTo>
                    <a:pt x="1336661" y="0"/>
                  </a:lnTo>
                  <a:lnTo>
                    <a:pt x="1366479" y="29818"/>
                  </a:lnTo>
                  <a:lnTo>
                    <a:pt x="1366479" y="187789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8B06FD7F-4E7B-4419-A6D1-4AB0A83C5716}"/>
                </a:ext>
              </a:extLst>
            </p:cNvPr>
            <p:cNvSpPr/>
            <p:nvPr/>
          </p:nvSpPr>
          <p:spPr>
            <a:xfrm rot="10800000">
              <a:off x="4042888" y="2531167"/>
              <a:ext cx="1054593" cy="1450443"/>
            </a:xfrm>
            <a:custGeom>
              <a:avLst/>
              <a:gdLst>
                <a:gd name="connsiteX0" fmla="*/ 1336662 w 1366479"/>
                <a:gd name="connsiteY0" fmla="*/ 1879397 h 1879397"/>
                <a:gd name="connsiteX1" fmla="*/ 1306844 w 1366479"/>
                <a:gd name="connsiteY1" fmla="*/ 1877891 h 1879397"/>
                <a:gd name="connsiteX2" fmla="*/ 1140193 w 1366479"/>
                <a:gd name="connsiteY2" fmla="*/ 1869476 h 1879397"/>
                <a:gd name="connsiteX3" fmla="*/ 114368 w 1366479"/>
                <a:gd name="connsiteY3" fmla="*/ 1440605 h 1879397"/>
                <a:gd name="connsiteX4" fmla="*/ 0 w 1366479"/>
                <a:gd name="connsiteY4" fmla="*/ 1336661 h 1879397"/>
                <a:gd name="connsiteX5" fmla="*/ 1306844 w 1366479"/>
                <a:gd name="connsiteY5" fmla="*/ 29818 h 1879397"/>
                <a:gd name="connsiteX6" fmla="*/ 1336661 w 1366479"/>
                <a:gd name="connsiteY6" fmla="*/ 0 h 1879397"/>
                <a:gd name="connsiteX7" fmla="*/ 1366479 w 1366479"/>
                <a:gd name="connsiteY7" fmla="*/ 29818 h 1879397"/>
                <a:gd name="connsiteX8" fmla="*/ 1366479 w 1366479"/>
                <a:gd name="connsiteY8" fmla="*/ 1877891 h 187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6479" h="1879397">
                  <a:moveTo>
                    <a:pt x="1336662" y="1879397"/>
                  </a:moveTo>
                  <a:lnTo>
                    <a:pt x="1306844" y="1877891"/>
                  </a:lnTo>
                  <a:lnTo>
                    <a:pt x="1140193" y="1869476"/>
                  </a:lnTo>
                  <a:cubicBezTo>
                    <a:pt x="752609" y="1830115"/>
                    <a:pt x="399076" y="1675567"/>
                    <a:pt x="114368" y="1440605"/>
                  </a:cubicBezTo>
                  <a:lnTo>
                    <a:pt x="0" y="1336661"/>
                  </a:lnTo>
                  <a:lnTo>
                    <a:pt x="1306844" y="29818"/>
                  </a:lnTo>
                  <a:lnTo>
                    <a:pt x="1336661" y="0"/>
                  </a:lnTo>
                  <a:lnTo>
                    <a:pt x="1366479" y="29818"/>
                  </a:lnTo>
                  <a:lnTo>
                    <a:pt x="1366479" y="187789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AE32E367-C880-4C93-B1B8-B9CC9C2B7E0A}"/>
                </a:ext>
              </a:extLst>
            </p:cNvPr>
            <p:cNvSpPr/>
            <p:nvPr/>
          </p:nvSpPr>
          <p:spPr>
            <a:xfrm rot="10800000">
              <a:off x="4088911" y="2950029"/>
              <a:ext cx="1458812" cy="1041113"/>
            </a:xfrm>
            <a:custGeom>
              <a:avLst/>
              <a:gdLst>
                <a:gd name="connsiteX0" fmla="*/ 583398 w 1890242"/>
                <a:gd name="connsiteY0" fmla="*/ 1349012 h 1349012"/>
                <a:gd name="connsiteX1" fmla="*/ 561308 w 1890242"/>
                <a:gd name="connsiteY1" fmla="*/ 1328935 h 1349012"/>
                <a:gd name="connsiteX2" fmla="*/ 541230 w 1890242"/>
                <a:gd name="connsiteY2" fmla="*/ 1306844 h 1349012"/>
                <a:gd name="connsiteX3" fmla="*/ 437287 w 1890242"/>
                <a:gd name="connsiteY3" fmla="*/ 1192477 h 1349012"/>
                <a:gd name="connsiteX4" fmla="*/ 8416 w 1890242"/>
                <a:gd name="connsiteY4" fmla="*/ 166652 h 1349012"/>
                <a:gd name="connsiteX5" fmla="*/ 0 w 1890242"/>
                <a:gd name="connsiteY5" fmla="*/ 0 h 1349012"/>
                <a:gd name="connsiteX6" fmla="*/ 1848074 w 1890242"/>
                <a:gd name="connsiteY6" fmla="*/ 0 h 1349012"/>
                <a:gd name="connsiteX7" fmla="*/ 1890242 w 1890242"/>
                <a:gd name="connsiteY7" fmla="*/ 0 h 1349012"/>
                <a:gd name="connsiteX8" fmla="*/ 1890242 w 1890242"/>
                <a:gd name="connsiteY8" fmla="*/ 42169 h 134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90242" h="1349012">
                  <a:moveTo>
                    <a:pt x="583398" y="1349012"/>
                  </a:moveTo>
                  <a:lnTo>
                    <a:pt x="561308" y="1328935"/>
                  </a:lnTo>
                  <a:lnTo>
                    <a:pt x="541230" y="1306844"/>
                  </a:lnTo>
                  <a:lnTo>
                    <a:pt x="437287" y="1192477"/>
                  </a:lnTo>
                  <a:cubicBezTo>
                    <a:pt x="202325" y="907769"/>
                    <a:pt x="47777" y="554236"/>
                    <a:pt x="8416" y="166652"/>
                  </a:cubicBezTo>
                  <a:lnTo>
                    <a:pt x="0" y="0"/>
                  </a:lnTo>
                  <a:lnTo>
                    <a:pt x="1848074" y="0"/>
                  </a:lnTo>
                  <a:lnTo>
                    <a:pt x="1890242" y="0"/>
                  </a:lnTo>
                  <a:lnTo>
                    <a:pt x="1890242" y="4216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A20F04F2-3C6B-4212-9DA3-15D952C2A3F1}"/>
                </a:ext>
              </a:extLst>
            </p:cNvPr>
            <p:cNvSpPr/>
            <p:nvPr/>
          </p:nvSpPr>
          <p:spPr>
            <a:xfrm rot="10800000">
              <a:off x="4098443" y="3991142"/>
              <a:ext cx="1450442" cy="1054593"/>
            </a:xfrm>
            <a:custGeom>
              <a:avLst/>
              <a:gdLst>
                <a:gd name="connsiteX0" fmla="*/ 1849579 w 1879396"/>
                <a:gd name="connsiteY0" fmla="*/ 1366478 h 1366478"/>
                <a:gd name="connsiteX1" fmla="*/ 1505 w 1879396"/>
                <a:gd name="connsiteY1" fmla="*/ 1366478 h 1366478"/>
                <a:gd name="connsiteX2" fmla="*/ 0 w 1879396"/>
                <a:gd name="connsiteY2" fmla="*/ 1336661 h 1366478"/>
                <a:gd name="connsiteX3" fmla="*/ 1505 w 1879396"/>
                <a:gd name="connsiteY3" fmla="*/ 1306843 h 1366478"/>
                <a:gd name="connsiteX4" fmla="*/ 9921 w 1879396"/>
                <a:gd name="connsiteY4" fmla="*/ 1140192 h 1366478"/>
                <a:gd name="connsiteX5" fmla="*/ 438792 w 1879396"/>
                <a:gd name="connsiteY5" fmla="*/ 114367 h 1366478"/>
                <a:gd name="connsiteX6" fmla="*/ 542735 w 1879396"/>
                <a:gd name="connsiteY6" fmla="*/ 0 h 1366478"/>
                <a:gd name="connsiteX7" fmla="*/ 1849578 w 1879396"/>
                <a:gd name="connsiteY7" fmla="*/ 1306843 h 1366478"/>
                <a:gd name="connsiteX8" fmla="*/ 1879396 w 1879396"/>
                <a:gd name="connsiteY8" fmla="*/ 1336661 h 1366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79396" h="1366478">
                  <a:moveTo>
                    <a:pt x="1849579" y="1366478"/>
                  </a:moveTo>
                  <a:lnTo>
                    <a:pt x="1505" y="1366478"/>
                  </a:lnTo>
                  <a:lnTo>
                    <a:pt x="0" y="1336661"/>
                  </a:lnTo>
                  <a:lnTo>
                    <a:pt x="1505" y="1306843"/>
                  </a:lnTo>
                  <a:lnTo>
                    <a:pt x="9921" y="1140192"/>
                  </a:lnTo>
                  <a:cubicBezTo>
                    <a:pt x="49282" y="752608"/>
                    <a:pt x="203830" y="399076"/>
                    <a:pt x="438792" y="114367"/>
                  </a:cubicBezTo>
                  <a:lnTo>
                    <a:pt x="542735" y="0"/>
                  </a:lnTo>
                  <a:lnTo>
                    <a:pt x="1849578" y="1306843"/>
                  </a:lnTo>
                  <a:lnTo>
                    <a:pt x="1879396" y="133666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D7CD410A-A0A9-4776-9347-F32204152A88}"/>
                </a:ext>
              </a:extLst>
            </p:cNvPr>
            <p:cNvSpPr/>
            <p:nvPr/>
          </p:nvSpPr>
          <p:spPr>
            <a:xfrm rot="10800000">
              <a:off x="4088911" y="4037166"/>
              <a:ext cx="1041113" cy="1458811"/>
            </a:xfrm>
            <a:custGeom>
              <a:avLst/>
              <a:gdLst>
                <a:gd name="connsiteX0" fmla="*/ 1349012 w 1349012"/>
                <a:gd name="connsiteY0" fmla="*/ 1890241 h 1890241"/>
                <a:gd name="connsiteX1" fmla="*/ 1306843 w 1349012"/>
                <a:gd name="connsiteY1" fmla="*/ 1890241 h 1890241"/>
                <a:gd name="connsiteX2" fmla="*/ 0 w 1349012"/>
                <a:gd name="connsiteY2" fmla="*/ 583398 h 1890241"/>
                <a:gd name="connsiteX3" fmla="*/ 20078 w 1349012"/>
                <a:gd name="connsiteY3" fmla="*/ 561307 h 1890241"/>
                <a:gd name="connsiteX4" fmla="*/ 42168 w 1349012"/>
                <a:gd name="connsiteY4" fmla="*/ 541230 h 1890241"/>
                <a:gd name="connsiteX5" fmla="*/ 156536 w 1349012"/>
                <a:gd name="connsiteY5" fmla="*/ 437286 h 1890241"/>
                <a:gd name="connsiteX6" fmla="*/ 1182361 w 1349012"/>
                <a:gd name="connsiteY6" fmla="*/ 8415 h 1890241"/>
                <a:gd name="connsiteX7" fmla="*/ 1349012 w 1349012"/>
                <a:gd name="connsiteY7" fmla="*/ 0 h 1890241"/>
                <a:gd name="connsiteX8" fmla="*/ 1349012 w 1349012"/>
                <a:gd name="connsiteY8" fmla="*/ 1848074 h 189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49012" h="1890241">
                  <a:moveTo>
                    <a:pt x="1349012" y="1890241"/>
                  </a:moveTo>
                  <a:lnTo>
                    <a:pt x="1306843" y="1890241"/>
                  </a:lnTo>
                  <a:lnTo>
                    <a:pt x="0" y="583398"/>
                  </a:lnTo>
                  <a:lnTo>
                    <a:pt x="20078" y="561307"/>
                  </a:lnTo>
                  <a:lnTo>
                    <a:pt x="42168" y="541230"/>
                  </a:lnTo>
                  <a:lnTo>
                    <a:pt x="156536" y="437286"/>
                  </a:lnTo>
                  <a:cubicBezTo>
                    <a:pt x="441244" y="202324"/>
                    <a:pt x="794777" y="47776"/>
                    <a:pt x="1182361" y="8415"/>
                  </a:cubicBezTo>
                  <a:lnTo>
                    <a:pt x="1349012" y="0"/>
                  </a:lnTo>
                  <a:lnTo>
                    <a:pt x="1349012" y="184807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500"/>
            </a:p>
          </p:txBody>
        </p:sp>
        <p:sp>
          <p:nvSpPr>
            <p:cNvPr id="50" name="Oval 49">
              <a:extLst>
                <a:ext uri="{FF2B5EF4-FFF2-40B4-BE49-F238E27FC236}">
                  <a16:creationId xmlns="" xmlns:a16="http://schemas.microsoft.com/office/drawing/2014/main" id="{C61EA279-76FB-4763-94CB-9D7ECE3E7436}"/>
                </a:ext>
              </a:extLst>
            </p:cNvPr>
            <p:cNvSpPr/>
            <p:nvPr/>
          </p:nvSpPr>
          <p:spPr>
            <a:xfrm>
              <a:off x="2544198" y="2686041"/>
              <a:ext cx="2849814" cy="2656224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Design &amp; Develop a Robot</a:t>
              </a:r>
              <a:endParaRPr lang="en-US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endParaRPr>
            </a:p>
          </p:txBody>
        </p:sp>
        <p:sp>
          <p:nvSpPr>
            <p:cNvPr id="51" name="Arc 50">
              <a:extLst>
                <a:ext uri="{FF2B5EF4-FFF2-40B4-BE49-F238E27FC236}">
                  <a16:creationId xmlns="" xmlns:a16="http://schemas.microsoft.com/office/drawing/2014/main" id="{B955036C-442C-419F-99A7-BA1165AE86D6}"/>
                </a:ext>
              </a:extLst>
            </p:cNvPr>
            <p:cNvSpPr/>
            <p:nvPr/>
          </p:nvSpPr>
          <p:spPr>
            <a:xfrm>
              <a:off x="2149338" y="2032506"/>
              <a:ext cx="3898209" cy="3898209"/>
            </a:xfrm>
            <a:prstGeom prst="arc">
              <a:avLst>
                <a:gd name="adj1" fmla="val 14524039"/>
                <a:gd name="adj2" fmla="val 7403598"/>
              </a:avLst>
            </a:prstGeom>
            <a:ln w="38100" cap="rnd">
              <a:solidFill>
                <a:schemeClr val="bg1"/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grpSp>
          <p:nvGrpSpPr>
            <p:cNvPr id="3" name="Group 51">
              <a:extLst>
                <a:ext uri="{FF2B5EF4-FFF2-40B4-BE49-F238E27FC236}">
                  <a16:creationId xmlns="" xmlns:a16="http://schemas.microsoft.com/office/drawing/2014/main" id="{62C3453A-C0F8-4D4B-8A51-AD7E1ED75FAD}"/>
                </a:ext>
              </a:extLst>
            </p:cNvPr>
            <p:cNvGrpSpPr/>
            <p:nvPr/>
          </p:nvGrpSpPr>
          <p:grpSpPr>
            <a:xfrm>
              <a:off x="4609467" y="2000706"/>
              <a:ext cx="335122" cy="335122"/>
              <a:chOff x="3997477" y="1382992"/>
              <a:chExt cx="403282" cy="403282"/>
            </a:xfrm>
          </p:grpSpPr>
          <p:sp>
            <p:nvSpPr>
              <p:cNvPr id="100" name="Oval 99">
                <a:extLst>
                  <a:ext uri="{FF2B5EF4-FFF2-40B4-BE49-F238E27FC236}">
                    <a16:creationId xmlns="" xmlns:a16="http://schemas.microsoft.com/office/drawing/2014/main" id="{7AF36C8D-9142-4C6C-8EAE-C868C809CEC6}"/>
                  </a:ext>
                </a:extLst>
              </p:cNvPr>
              <p:cNvSpPr/>
              <p:nvPr/>
            </p:nvSpPr>
            <p:spPr>
              <a:xfrm>
                <a:off x="3997477" y="1382992"/>
                <a:ext cx="403282" cy="40328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81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="" xmlns:a16="http://schemas.microsoft.com/office/drawing/2014/main" id="{7BDA5861-38E8-44FC-A566-A69A0CA2A7AB}"/>
                  </a:ext>
                </a:extLst>
              </p:cNvPr>
              <p:cNvSpPr/>
              <p:nvPr/>
            </p:nvSpPr>
            <p:spPr>
              <a:xfrm>
                <a:off x="4038388" y="1423903"/>
                <a:ext cx="321461" cy="32146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</p:grpSp>
        <p:grpSp>
          <p:nvGrpSpPr>
            <p:cNvPr id="4" name="Group 52">
              <a:extLst>
                <a:ext uri="{FF2B5EF4-FFF2-40B4-BE49-F238E27FC236}">
                  <a16:creationId xmlns="" xmlns:a16="http://schemas.microsoft.com/office/drawing/2014/main" id="{E83A3C2A-7C2F-4F04-BDAA-0CFF01D7D5F0}"/>
                </a:ext>
              </a:extLst>
            </p:cNvPr>
            <p:cNvGrpSpPr/>
            <p:nvPr/>
          </p:nvGrpSpPr>
          <p:grpSpPr>
            <a:xfrm>
              <a:off x="5394011" y="2550597"/>
              <a:ext cx="335122" cy="335122"/>
              <a:chOff x="3997477" y="1382992"/>
              <a:chExt cx="403282" cy="403282"/>
            </a:xfrm>
          </p:grpSpPr>
          <p:sp>
            <p:nvSpPr>
              <p:cNvPr id="98" name="Oval 97">
                <a:extLst>
                  <a:ext uri="{FF2B5EF4-FFF2-40B4-BE49-F238E27FC236}">
                    <a16:creationId xmlns="" xmlns:a16="http://schemas.microsoft.com/office/drawing/2014/main" id="{9CBEFD18-873A-41DF-8078-F5508D5589D4}"/>
                  </a:ext>
                </a:extLst>
              </p:cNvPr>
              <p:cNvSpPr/>
              <p:nvPr/>
            </p:nvSpPr>
            <p:spPr>
              <a:xfrm>
                <a:off x="3997477" y="1382992"/>
                <a:ext cx="403282" cy="40328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81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="" xmlns:a16="http://schemas.microsoft.com/office/drawing/2014/main" id="{F6748DF2-98B0-4C82-9237-2C1FC9841F6F}"/>
                  </a:ext>
                </a:extLst>
              </p:cNvPr>
              <p:cNvSpPr/>
              <p:nvPr/>
            </p:nvSpPr>
            <p:spPr>
              <a:xfrm>
                <a:off x="4038388" y="1423903"/>
                <a:ext cx="321461" cy="321461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</p:grpSp>
        <p:grpSp>
          <p:nvGrpSpPr>
            <p:cNvPr id="5" name="Group 53">
              <a:extLst>
                <a:ext uri="{FF2B5EF4-FFF2-40B4-BE49-F238E27FC236}">
                  <a16:creationId xmlns="" xmlns:a16="http://schemas.microsoft.com/office/drawing/2014/main" id="{4E4E2E77-755E-4C8B-B9F1-C6D81B941843}"/>
                </a:ext>
              </a:extLst>
            </p:cNvPr>
            <p:cNvGrpSpPr/>
            <p:nvPr/>
          </p:nvGrpSpPr>
          <p:grpSpPr>
            <a:xfrm>
              <a:off x="5806807" y="3258125"/>
              <a:ext cx="335122" cy="335122"/>
              <a:chOff x="3997477" y="1382992"/>
              <a:chExt cx="403282" cy="403282"/>
            </a:xfrm>
          </p:grpSpPr>
          <p:sp>
            <p:nvSpPr>
              <p:cNvPr id="96" name="Oval 95">
                <a:extLst>
                  <a:ext uri="{FF2B5EF4-FFF2-40B4-BE49-F238E27FC236}">
                    <a16:creationId xmlns="" xmlns:a16="http://schemas.microsoft.com/office/drawing/2014/main" id="{46751ED3-882A-4091-8EF6-6F5CD3974CEB}"/>
                  </a:ext>
                </a:extLst>
              </p:cNvPr>
              <p:cNvSpPr/>
              <p:nvPr/>
            </p:nvSpPr>
            <p:spPr>
              <a:xfrm>
                <a:off x="3997477" y="1382992"/>
                <a:ext cx="403282" cy="40328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81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="" xmlns:a16="http://schemas.microsoft.com/office/drawing/2014/main" id="{0BDDD83F-14ED-4A6C-9996-3EF63CC30EC7}"/>
                  </a:ext>
                </a:extLst>
              </p:cNvPr>
              <p:cNvSpPr/>
              <p:nvPr/>
            </p:nvSpPr>
            <p:spPr>
              <a:xfrm>
                <a:off x="4038390" y="1423903"/>
                <a:ext cx="321461" cy="321461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</p:grpSp>
        <p:grpSp>
          <p:nvGrpSpPr>
            <p:cNvPr id="6" name="Group 54">
              <a:extLst>
                <a:ext uri="{FF2B5EF4-FFF2-40B4-BE49-F238E27FC236}">
                  <a16:creationId xmlns="" xmlns:a16="http://schemas.microsoft.com/office/drawing/2014/main" id="{DB0EB732-33E4-4D68-A5CC-D3FAA75546CD}"/>
                </a:ext>
              </a:extLst>
            </p:cNvPr>
            <p:cNvGrpSpPr/>
            <p:nvPr/>
          </p:nvGrpSpPr>
          <p:grpSpPr>
            <a:xfrm>
              <a:off x="5805665" y="4266338"/>
              <a:ext cx="335122" cy="335122"/>
              <a:chOff x="3997477" y="1382992"/>
              <a:chExt cx="403282" cy="403282"/>
            </a:xfrm>
          </p:grpSpPr>
          <p:sp>
            <p:nvSpPr>
              <p:cNvPr id="94" name="Oval 93">
                <a:extLst>
                  <a:ext uri="{FF2B5EF4-FFF2-40B4-BE49-F238E27FC236}">
                    <a16:creationId xmlns="" xmlns:a16="http://schemas.microsoft.com/office/drawing/2014/main" id="{BB1F3D29-9C05-4A1F-8279-1047BC98EE0F}"/>
                  </a:ext>
                </a:extLst>
              </p:cNvPr>
              <p:cNvSpPr/>
              <p:nvPr/>
            </p:nvSpPr>
            <p:spPr>
              <a:xfrm>
                <a:off x="3997477" y="1382992"/>
                <a:ext cx="403282" cy="40328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81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="" xmlns:a16="http://schemas.microsoft.com/office/drawing/2014/main" id="{9741D580-C21E-46FF-936C-DBC0817954DB}"/>
                  </a:ext>
                </a:extLst>
              </p:cNvPr>
              <p:cNvSpPr/>
              <p:nvPr/>
            </p:nvSpPr>
            <p:spPr>
              <a:xfrm>
                <a:off x="4038388" y="1423903"/>
                <a:ext cx="321461" cy="321461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</p:grpSp>
        <p:grpSp>
          <p:nvGrpSpPr>
            <p:cNvPr id="7" name="Group 55">
              <a:extLst>
                <a:ext uri="{FF2B5EF4-FFF2-40B4-BE49-F238E27FC236}">
                  <a16:creationId xmlns="" xmlns:a16="http://schemas.microsoft.com/office/drawing/2014/main" id="{2122DFE3-FCF8-43CB-9373-731104A955D3}"/>
                </a:ext>
              </a:extLst>
            </p:cNvPr>
            <p:cNvGrpSpPr/>
            <p:nvPr/>
          </p:nvGrpSpPr>
          <p:grpSpPr>
            <a:xfrm>
              <a:off x="5410650" y="5094181"/>
              <a:ext cx="335122" cy="335122"/>
              <a:chOff x="3997477" y="1382992"/>
              <a:chExt cx="403282" cy="403282"/>
            </a:xfrm>
          </p:grpSpPr>
          <p:sp>
            <p:nvSpPr>
              <p:cNvPr id="92" name="Oval 91">
                <a:extLst>
                  <a:ext uri="{FF2B5EF4-FFF2-40B4-BE49-F238E27FC236}">
                    <a16:creationId xmlns="" xmlns:a16="http://schemas.microsoft.com/office/drawing/2014/main" id="{D61ADD3A-9340-4A46-8071-E1C8B81E7DB9}"/>
                  </a:ext>
                </a:extLst>
              </p:cNvPr>
              <p:cNvSpPr/>
              <p:nvPr/>
            </p:nvSpPr>
            <p:spPr>
              <a:xfrm>
                <a:off x="3997477" y="1382992"/>
                <a:ext cx="403282" cy="40328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81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="" xmlns:a16="http://schemas.microsoft.com/office/drawing/2014/main" id="{9B74A460-D637-4AB5-AD2D-18E172AC5493}"/>
                  </a:ext>
                </a:extLst>
              </p:cNvPr>
              <p:cNvSpPr/>
              <p:nvPr/>
            </p:nvSpPr>
            <p:spPr>
              <a:xfrm>
                <a:off x="4038388" y="1423903"/>
                <a:ext cx="321461" cy="321461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</p:grpSp>
        <p:grpSp>
          <p:nvGrpSpPr>
            <p:cNvPr id="8" name="Group 56">
              <a:extLst>
                <a:ext uri="{FF2B5EF4-FFF2-40B4-BE49-F238E27FC236}">
                  <a16:creationId xmlns="" xmlns:a16="http://schemas.microsoft.com/office/drawing/2014/main" id="{E6F77C52-2C6E-4048-B75A-9E4B1F598F31}"/>
                </a:ext>
              </a:extLst>
            </p:cNvPr>
            <p:cNvGrpSpPr/>
            <p:nvPr/>
          </p:nvGrpSpPr>
          <p:grpSpPr>
            <a:xfrm>
              <a:off x="4609466" y="5695273"/>
              <a:ext cx="335122" cy="335122"/>
              <a:chOff x="3997477" y="1382992"/>
              <a:chExt cx="403282" cy="403282"/>
            </a:xfrm>
          </p:grpSpPr>
          <p:sp>
            <p:nvSpPr>
              <p:cNvPr id="90" name="Oval 89">
                <a:extLst>
                  <a:ext uri="{FF2B5EF4-FFF2-40B4-BE49-F238E27FC236}">
                    <a16:creationId xmlns="" xmlns:a16="http://schemas.microsoft.com/office/drawing/2014/main" id="{76D53C14-9515-4349-B84C-F73087A6CCB7}"/>
                  </a:ext>
                </a:extLst>
              </p:cNvPr>
              <p:cNvSpPr/>
              <p:nvPr/>
            </p:nvSpPr>
            <p:spPr>
              <a:xfrm>
                <a:off x="3997477" y="1382992"/>
                <a:ext cx="403282" cy="40328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81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/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="" xmlns:a16="http://schemas.microsoft.com/office/drawing/2014/main" id="{FF1E579A-655E-46BF-9617-51DB880D2DD9}"/>
                  </a:ext>
                </a:extLst>
              </p:cNvPr>
              <p:cNvSpPr/>
              <p:nvPr/>
            </p:nvSpPr>
            <p:spPr>
              <a:xfrm>
                <a:off x="4038388" y="1423903"/>
                <a:ext cx="321461" cy="32146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 dirty="0"/>
              </a:p>
            </p:txBody>
          </p:sp>
        </p:grpSp>
        <p:sp>
          <p:nvSpPr>
            <p:cNvPr id="58" name="Oval 57">
              <a:extLst>
                <a:ext uri="{FF2B5EF4-FFF2-40B4-BE49-F238E27FC236}">
                  <a16:creationId xmlns="" xmlns:a16="http://schemas.microsoft.com/office/drawing/2014/main" id="{680387A1-6914-42FE-A475-0CCC38C31E5C}"/>
                </a:ext>
              </a:extLst>
            </p:cNvPr>
            <p:cNvSpPr/>
            <p:nvPr/>
          </p:nvSpPr>
          <p:spPr>
            <a:xfrm>
              <a:off x="4910591" y="1177394"/>
              <a:ext cx="627948" cy="627948"/>
            </a:xfrm>
            <a:prstGeom prst="ellipse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59" name="Rectangle: Rounded Corners 58">
              <a:extLst>
                <a:ext uri="{FF2B5EF4-FFF2-40B4-BE49-F238E27FC236}">
                  <a16:creationId xmlns="" xmlns:a16="http://schemas.microsoft.com/office/drawing/2014/main" id="{DF154F52-0518-4CCA-A43D-E55E216AB079}"/>
                </a:ext>
              </a:extLst>
            </p:cNvPr>
            <p:cNvSpPr/>
            <p:nvPr/>
          </p:nvSpPr>
          <p:spPr>
            <a:xfrm>
              <a:off x="5862737" y="2049129"/>
              <a:ext cx="2940096" cy="636912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72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0" name="Oval 59">
              <a:extLst>
                <a:ext uri="{FF2B5EF4-FFF2-40B4-BE49-F238E27FC236}">
                  <a16:creationId xmlns="" xmlns:a16="http://schemas.microsoft.com/office/drawing/2014/main" id="{31859DFD-0B30-4F98-926F-C69DDCD26A01}"/>
                </a:ext>
              </a:extLst>
            </p:cNvPr>
            <p:cNvSpPr/>
            <p:nvPr/>
          </p:nvSpPr>
          <p:spPr>
            <a:xfrm>
              <a:off x="5828740" y="2053139"/>
              <a:ext cx="627948" cy="627948"/>
            </a:xfrm>
            <a:prstGeom prst="ellipse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1" name="Rectangle: Rounded Corners 60">
              <a:extLst>
                <a:ext uri="{FF2B5EF4-FFF2-40B4-BE49-F238E27FC236}">
                  <a16:creationId xmlns="" xmlns:a16="http://schemas.microsoft.com/office/drawing/2014/main" id="{3ADD3300-CBC8-4B4C-B1AF-C7264B78BD8A}"/>
                </a:ext>
              </a:extLst>
            </p:cNvPr>
            <p:cNvSpPr/>
            <p:nvPr/>
          </p:nvSpPr>
          <p:spPr>
            <a:xfrm>
              <a:off x="6445232" y="3107229"/>
              <a:ext cx="2792876" cy="63691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100000">
                  <a:schemeClr val="accent3">
                    <a:lumMod val="50000"/>
                  </a:schemeClr>
                </a:gs>
                <a:gs pos="0">
                  <a:schemeClr val="accent3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72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2" name="Oval 61">
              <a:extLst>
                <a:ext uri="{FF2B5EF4-FFF2-40B4-BE49-F238E27FC236}">
                  <a16:creationId xmlns="" xmlns:a16="http://schemas.microsoft.com/office/drawing/2014/main" id="{2E97CE0C-AA78-4787-B492-FEB85D67F0AA}"/>
                </a:ext>
              </a:extLst>
            </p:cNvPr>
            <p:cNvSpPr/>
            <p:nvPr/>
          </p:nvSpPr>
          <p:spPr>
            <a:xfrm>
              <a:off x="6411236" y="3111239"/>
              <a:ext cx="627948" cy="627948"/>
            </a:xfrm>
            <a:prstGeom prst="ellipse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3" name="Rectangle: Rounded Corners 62">
              <a:extLst>
                <a:ext uri="{FF2B5EF4-FFF2-40B4-BE49-F238E27FC236}">
                  <a16:creationId xmlns="" xmlns:a16="http://schemas.microsoft.com/office/drawing/2014/main" id="{12DF7089-B5EB-4184-AD13-7A32139DB9A2}"/>
                </a:ext>
              </a:extLst>
            </p:cNvPr>
            <p:cNvSpPr/>
            <p:nvPr/>
          </p:nvSpPr>
          <p:spPr>
            <a:xfrm>
              <a:off x="6445232" y="4115443"/>
              <a:ext cx="2792876" cy="63691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100000">
                  <a:schemeClr val="accent4">
                    <a:lumMod val="50000"/>
                  </a:schemeClr>
                </a:gs>
                <a:gs pos="0">
                  <a:schemeClr val="accent4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72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4" name="Oval 63">
              <a:extLst>
                <a:ext uri="{FF2B5EF4-FFF2-40B4-BE49-F238E27FC236}">
                  <a16:creationId xmlns="" xmlns:a16="http://schemas.microsoft.com/office/drawing/2014/main" id="{03D0CE8D-BAC6-4F87-B09E-FF0BC6EFC4B2}"/>
                </a:ext>
              </a:extLst>
            </p:cNvPr>
            <p:cNvSpPr/>
            <p:nvPr/>
          </p:nvSpPr>
          <p:spPr>
            <a:xfrm>
              <a:off x="6411236" y="4119452"/>
              <a:ext cx="627948" cy="627948"/>
            </a:xfrm>
            <a:prstGeom prst="ellipse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5" name="Rectangle: Rounded Corners 64">
              <a:extLst>
                <a:ext uri="{FF2B5EF4-FFF2-40B4-BE49-F238E27FC236}">
                  <a16:creationId xmlns="" xmlns:a16="http://schemas.microsoft.com/office/drawing/2014/main" id="{BEACE67A-8BBC-44AE-870D-A572892346BF}"/>
                </a:ext>
              </a:extLst>
            </p:cNvPr>
            <p:cNvSpPr/>
            <p:nvPr/>
          </p:nvSpPr>
          <p:spPr>
            <a:xfrm>
              <a:off x="5862737" y="5263309"/>
              <a:ext cx="2792876" cy="63691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100000">
                  <a:schemeClr val="accent5">
                    <a:lumMod val="50000"/>
                  </a:schemeClr>
                </a:gs>
                <a:gs pos="0">
                  <a:schemeClr val="accent5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72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6" name="Oval 65">
              <a:extLst>
                <a:ext uri="{FF2B5EF4-FFF2-40B4-BE49-F238E27FC236}">
                  <a16:creationId xmlns="" xmlns:a16="http://schemas.microsoft.com/office/drawing/2014/main" id="{193FF1BD-1129-4119-89C0-B4FC9880457A}"/>
                </a:ext>
              </a:extLst>
            </p:cNvPr>
            <p:cNvSpPr/>
            <p:nvPr/>
          </p:nvSpPr>
          <p:spPr>
            <a:xfrm>
              <a:off x="5828740" y="5267318"/>
              <a:ext cx="627948" cy="627948"/>
            </a:xfrm>
            <a:prstGeom prst="ellipse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7" name="Rectangle: Rounded Corners 66">
              <a:extLst>
                <a:ext uri="{FF2B5EF4-FFF2-40B4-BE49-F238E27FC236}">
                  <a16:creationId xmlns="" xmlns:a16="http://schemas.microsoft.com/office/drawing/2014/main" id="{A47C726C-C758-4830-8196-F3C172A0042D}"/>
                </a:ext>
              </a:extLst>
            </p:cNvPr>
            <p:cNvSpPr/>
            <p:nvPr/>
          </p:nvSpPr>
          <p:spPr>
            <a:xfrm>
              <a:off x="4978584" y="6101820"/>
              <a:ext cx="2792876" cy="636912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>
              <a:outerShdw blurRad="50800" dist="38100" dir="72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 dirty="0"/>
            </a:p>
          </p:txBody>
        </p:sp>
        <p:sp>
          <p:nvSpPr>
            <p:cNvPr id="68" name="Oval 67">
              <a:extLst>
                <a:ext uri="{FF2B5EF4-FFF2-40B4-BE49-F238E27FC236}">
                  <a16:creationId xmlns="" xmlns:a16="http://schemas.microsoft.com/office/drawing/2014/main" id="{F2515785-3B62-4A8C-B2FE-4ADD41EAACDE}"/>
                </a:ext>
              </a:extLst>
            </p:cNvPr>
            <p:cNvSpPr/>
            <p:nvPr/>
          </p:nvSpPr>
          <p:spPr>
            <a:xfrm>
              <a:off x="4944588" y="6105829"/>
              <a:ext cx="627948" cy="627948"/>
            </a:xfrm>
            <a:prstGeom prst="ellipse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lumMod val="95000"/>
                  </a:scheme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69" name="TextBox 68">
              <a:extLst>
                <a:ext uri="{FF2B5EF4-FFF2-40B4-BE49-F238E27FC236}">
                  <a16:creationId xmlns="" xmlns:a16="http://schemas.microsoft.com/office/drawing/2014/main" id="{4374B6A8-C08C-40DE-B09B-7221F45C3934}"/>
                </a:ext>
              </a:extLst>
            </p:cNvPr>
            <p:cNvSpPr txBox="1"/>
            <p:nvPr/>
          </p:nvSpPr>
          <p:spPr>
            <a:xfrm>
              <a:off x="4988695" y="1314180"/>
              <a:ext cx="471741" cy="38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1</a:t>
              </a:r>
              <a:endParaRPr lang="en-US" sz="105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="" xmlns:a16="http://schemas.microsoft.com/office/drawing/2014/main" id="{A8AB9817-D24F-4415-98B2-21D9A3F44C8A}"/>
                </a:ext>
              </a:extLst>
            </p:cNvPr>
            <p:cNvSpPr txBox="1"/>
            <p:nvPr/>
          </p:nvSpPr>
          <p:spPr>
            <a:xfrm>
              <a:off x="5906844" y="2189926"/>
              <a:ext cx="471741" cy="38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2</a:t>
              </a:r>
              <a:endParaRPr lang="en-US" sz="105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="" xmlns:a16="http://schemas.microsoft.com/office/drawing/2014/main" id="{895218F6-0814-46CC-8079-D99B91C3AF93}"/>
                </a:ext>
              </a:extLst>
            </p:cNvPr>
            <p:cNvSpPr txBox="1"/>
            <p:nvPr/>
          </p:nvSpPr>
          <p:spPr>
            <a:xfrm>
              <a:off x="6489340" y="3248025"/>
              <a:ext cx="471741" cy="38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3</a:t>
              </a:r>
              <a:endParaRPr lang="en-US" sz="105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="" xmlns:a16="http://schemas.microsoft.com/office/drawing/2014/main" id="{E44BD376-3F01-4A10-8459-1C1F8CB3D792}"/>
                </a:ext>
              </a:extLst>
            </p:cNvPr>
            <p:cNvSpPr txBox="1"/>
            <p:nvPr/>
          </p:nvSpPr>
          <p:spPr>
            <a:xfrm>
              <a:off x="6489340" y="4256240"/>
              <a:ext cx="471741" cy="38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4</a:t>
              </a:r>
              <a:endParaRPr lang="en-US" sz="105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="" xmlns:a16="http://schemas.microsoft.com/office/drawing/2014/main" id="{E94F21A5-02D6-4355-8E3F-D4FDFE2B3366}"/>
                </a:ext>
              </a:extLst>
            </p:cNvPr>
            <p:cNvSpPr txBox="1"/>
            <p:nvPr/>
          </p:nvSpPr>
          <p:spPr>
            <a:xfrm>
              <a:off x="5906844" y="5404104"/>
              <a:ext cx="471741" cy="38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5</a:t>
              </a:r>
              <a:endParaRPr lang="en-US" sz="105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="" xmlns:a16="http://schemas.microsoft.com/office/drawing/2014/main" id="{6A293353-30D8-4066-BBEF-6DD582DB576D}"/>
                </a:ext>
              </a:extLst>
            </p:cNvPr>
            <p:cNvSpPr txBox="1"/>
            <p:nvPr/>
          </p:nvSpPr>
          <p:spPr>
            <a:xfrm>
              <a:off x="5022691" y="6242615"/>
              <a:ext cx="471741" cy="38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6</a:t>
              </a:r>
              <a:endParaRPr lang="en-US" sz="105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="" xmlns:a16="http://schemas.microsoft.com/office/drawing/2014/main" id="{F38931FA-B580-4500-BDAF-EDE358CE47D8}"/>
                </a:ext>
              </a:extLst>
            </p:cNvPr>
            <p:cNvSpPr txBox="1"/>
            <p:nvPr/>
          </p:nvSpPr>
          <p:spPr>
            <a:xfrm>
              <a:off x="7073180" y="3256408"/>
              <a:ext cx="1977362" cy="1685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endParaRPr lang="en-US" sz="67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="" xmlns:a16="http://schemas.microsoft.com/office/drawing/2014/main" id="{46BDF46F-A072-4BAE-B0DB-E2BAD6A27EB3}"/>
                </a:ext>
              </a:extLst>
            </p:cNvPr>
            <p:cNvSpPr txBox="1"/>
            <p:nvPr/>
          </p:nvSpPr>
          <p:spPr>
            <a:xfrm>
              <a:off x="7087151" y="4264622"/>
              <a:ext cx="1977362" cy="1685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endParaRPr lang="en-US" sz="67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="" xmlns:a16="http://schemas.microsoft.com/office/drawing/2014/main" id="{FFF2B45A-A434-4BC1-9B17-FDC7C3C94E13}"/>
                </a:ext>
              </a:extLst>
            </p:cNvPr>
            <p:cNvSpPr txBox="1"/>
            <p:nvPr/>
          </p:nvSpPr>
          <p:spPr>
            <a:xfrm>
              <a:off x="6530313" y="5412488"/>
              <a:ext cx="1977362" cy="1685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endParaRPr lang="en-US" sz="67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="" xmlns:a16="http://schemas.microsoft.com/office/drawing/2014/main" id="{4EB0EE06-54C3-4E49-8EF2-615F3A219459}"/>
                </a:ext>
              </a:extLst>
            </p:cNvPr>
            <p:cNvSpPr txBox="1"/>
            <p:nvPr/>
          </p:nvSpPr>
          <p:spPr>
            <a:xfrm>
              <a:off x="5652624" y="6251000"/>
              <a:ext cx="1977362" cy="1685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endParaRPr lang="en-US" sz="67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="" xmlns:a16="http://schemas.microsoft.com/office/drawing/2014/main" id="{BA2A9EA6-2CA6-4414-AF8E-855B3C73245E}"/>
                </a:ext>
              </a:extLst>
            </p:cNvPr>
            <p:cNvSpPr txBox="1"/>
            <p:nvPr/>
          </p:nvSpPr>
          <p:spPr>
            <a:xfrm>
              <a:off x="2952752" y="3321656"/>
              <a:ext cx="2226297" cy="5451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endParaRPr lang="en-US" sz="2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5" name="Rectangle 74"/>
          <p:cNvSpPr/>
          <p:nvPr/>
        </p:nvSpPr>
        <p:spPr>
          <a:xfrm>
            <a:off x="4343400" y="228600"/>
            <a:ext cx="2743200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can </a:t>
            </a:r>
            <a:r>
              <a:rPr lang="en-US" sz="2000" dirty="0"/>
              <a:t>draw</a:t>
            </a:r>
            <a:r>
              <a:rPr lang="en-US" dirty="0"/>
              <a:t> any sketch of various sizes.</a:t>
            </a:r>
          </a:p>
        </p:txBody>
      </p:sp>
      <p:sp>
        <p:nvSpPr>
          <p:cNvPr id="83" name="Rectangle 82"/>
          <p:cNvSpPr/>
          <p:nvPr/>
        </p:nvSpPr>
        <p:spPr>
          <a:xfrm>
            <a:off x="5562600" y="2438400"/>
            <a:ext cx="3657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ea typeface="Arial Unicode MS" pitchFamily="34" charset="-128"/>
                <a:cs typeface="Arial Unicode MS" pitchFamily="34" charset="-128"/>
              </a:rPr>
              <a:t>Can perform its function </a:t>
            </a:r>
          </a:p>
          <a:p>
            <a:pPr algn="ctr"/>
            <a:r>
              <a:rPr lang="en-US" dirty="0">
                <a:ea typeface="Arial Unicode MS" pitchFamily="34" charset="-128"/>
                <a:cs typeface="Arial Unicode MS" pitchFamily="34" charset="-128"/>
              </a:rPr>
              <a:t>with less errors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0" y="381000"/>
            <a:ext cx="4876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/>
              <a:t>Problem statement :</a:t>
            </a:r>
          </a:p>
        </p:txBody>
      </p:sp>
      <p:sp>
        <p:nvSpPr>
          <p:cNvPr id="85" name="Rectangle 84"/>
          <p:cNvSpPr/>
          <p:nvPr/>
        </p:nvSpPr>
        <p:spPr>
          <a:xfrm>
            <a:off x="5486400" y="1219200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dirty="0"/>
              <a:t>Functioning/Execution of the </a:t>
            </a:r>
          </a:p>
          <a:p>
            <a:pPr lvl="0"/>
            <a:r>
              <a:rPr lang="en-US" dirty="0"/>
              <a:t>program as per requirement.</a:t>
            </a:r>
            <a:endParaRPr lang="en-IN" dirty="0"/>
          </a:p>
        </p:txBody>
      </p:sp>
      <p:sp>
        <p:nvSpPr>
          <p:cNvPr id="86" name="Rectangle 85"/>
          <p:cNvSpPr/>
          <p:nvPr/>
        </p:nvSpPr>
        <p:spPr>
          <a:xfrm>
            <a:off x="5562600" y="3581400"/>
            <a:ext cx="3657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Easy to operate with </a:t>
            </a:r>
          </a:p>
          <a:p>
            <a:pPr algn="ctr"/>
            <a:r>
              <a:rPr lang="en-US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less input requirements</a:t>
            </a:r>
          </a:p>
        </p:txBody>
      </p:sp>
      <p:sp>
        <p:nvSpPr>
          <p:cNvPr id="87" name="Rectangle 86"/>
          <p:cNvSpPr/>
          <p:nvPr/>
        </p:nvSpPr>
        <p:spPr>
          <a:xfrm>
            <a:off x="4953000" y="4953000"/>
            <a:ext cx="3657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Can be fitted in less time </a:t>
            </a:r>
          </a:p>
          <a:p>
            <a:pPr algn="ctr"/>
            <a:r>
              <a:rPr lang="en-US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&amp; easy to install.</a:t>
            </a:r>
          </a:p>
        </p:txBody>
      </p:sp>
      <p:sp>
        <p:nvSpPr>
          <p:cNvPr id="88" name="Rectangle 87"/>
          <p:cNvSpPr/>
          <p:nvPr/>
        </p:nvSpPr>
        <p:spPr>
          <a:xfrm>
            <a:off x="4419599" y="5934670"/>
            <a:ext cx="426595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To make it portable, can be </a:t>
            </a:r>
          </a:p>
          <a:p>
            <a:r>
              <a:rPr lang="en-US" dirty="0"/>
              <a:t>operate from anywhere</a:t>
            </a:r>
          </a:p>
          <a:p>
            <a:pPr lvl="0"/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291459938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1500">
        <p:split orient="vert"/>
      </p:transition>
    </mc:Choice>
    <mc:Fallback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1000">
              <a:schemeClr val="accent3">
                <a:lumMod val="45000"/>
                <a:lumOff val="55000"/>
              </a:schemeClr>
            </a:gs>
            <a:gs pos="50000">
              <a:schemeClr val="accent6">
                <a:lumMod val="40000"/>
                <a:lumOff val="60000"/>
              </a:schemeClr>
            </a:gs>
            <a:gs pos="4000">
              <a:schemeClr val="accent3">
                <a:lumMod val="45000"/>
                <a:lumOff val="55000"/>
              </a:schemeClr>
            </a:gs>
            <a:gs pos="65000">
              <a:schemeClr val="accent3">
                <a:lumMod val="45000"/>
                <a:lumOff val="55000"/>
              </a:schemeClr>
            </a:gs>
            <a:gs pos="79000">
              <a:schemeClr val="tx2">
                <a:lumMod val="40000"/>
                <a:lumOff val="60000"/>
              </a:schemeClr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8951119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64" name="think-cell Slide" r:id="rId4" imgW="360" imgH="360" progId="">
              <p:embed/>
            </p:oleObj>
          </a:graphicData>
        </a:graphic>
      </p:graphicFrame>
      <p:sp>
        <p:nvSpPr>
          <p:cNvPr id="54" name="Oval 53"/>
          <p:cNvSpPr/>
          <p:nvPr/>
        </p:nvSpPr>
        <p:spPr>
          <a:xfrm>
            <a:off x="3039524" y="4669973"/>
            <a:ext cx="2309011" cy="1836877"/>
          </a:xfrm>
          <a:prstGeom prst="ellipse">
            <a:avLst/>
          </a:prstGeom>
          <a:solidFill>
            <a:schemeClr val="bg1">
              <a:lumMod val="75000"/>
              <a:alpha val="18000"/>
            </a:schemeClr>
          </a:solidFill>
          <a:ln w="139700">
            <a:noFill/>
          </a:ln>
          <a:effectLst>
            <a:outerShdw blurRad="127000" dist="38100" dir="2700000" algn="ctr">
              <a:srgbClr val="000000">
                <a:alpha val="45000"/>
              </a:srgbClr>
            </a:outerShdw>
            <a:softEdge rad="127000"/>
          </a:effectLst>
          <a:scene3d>
            <a:camera prst="perspectiveFront" fov="2700000">
              <a:rot lat="19924472" lon="2371624" rev="19033905"/>
            </a:camera>
            <a:lightRig rig="flood" dir="t"/>
          </a:scene3d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800" b="1" dirty="0">
              <a:ln w="19050">
                <a:noFill/>
                <a:prstDash val="solid"/>
              </a:ln>
              <a:solidFill>
                <a:srgbClr val="182848"/>
              </a:solidFill>
              <a:latin typeface="Impact" pitchFamily="34" charset="0"/>
            </a:endParaRPr>
          </a:p>
        </p:txBody>
      </p:sp>
      <p:grpSp>
        <p:nvGrpSpPr>
          <p:cNvPr id="2" name="Group 9"/>
          <p:cNvGrpSpPr/>
          <p:nvPr/>
        </p:nvGrpSpPr>
        <p:grpSpPr>
          <a:xfrm>
            <a:off x="5707002" y="4049341"/>
            <a:ext cx="2278176" cy="1968228"/>
            <a:chOff x="5707002" y="4049341"/>
            <a:chExt cx="2278176" cy="1968228"/>
          </a:xfrm>
        </p:grpSpPr>
        <p:sp>
          <p:nvSpPr>
            <p:cNvPr id="21" name="Oval Callout 20"/>
            <p:cNvSpPr/>
            <p:nvPr/>
          </p:nvSpPr>
          <p:spPr>
            <a:xfrm rot="16200000" flipV="1">
              <a:off x="5861976" y="3894367"/>
              <a:ext cx="1968228" cy="2278176"/>
            </a:xfrm>
            <a:prstGeom prst="wedgeEllipseCallout">
              <a:avLst>
                <a:gd name="adj1" fmla="val -1048"/>
                <a:gd name="adj2" fmla="val 84816"/>
              </a:avLst>
            </a:prstGeom>
            <a:gradFill flip="none" rotWithShape="1">
              <a:gsLst>
                <a:gs pos="78000">
                  <a:srgbClr val="D9A803"/>
                </a:gs>
                <a:gs pos="0">
                  <a:srgbClr val="FFE101"/>
                </a:gs>
                <a:gs pos="100000">
                  <a:schemeClr val="accent6">
                    <a:lumMod val="50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>
              <a:outerShdw blurRad="50800" dist="63500" dir="8400000" algn="tr" rotWithShape="0">
                <a:prstClr val="black">
                  <a:alpha val="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  <p:sp>
          <p:nvSpPr>
            <p:cNvPr id="46" name="Chord 45"/>
            <p:cNvSpPr/>
            <p:nvPr/>
          </p:nvSpPr>
          <p:spPr>
            <a:xfrm rot="16031008">
              <a:off x="5982206" y="4014890"/>
              <a:ext cx="1769775" cy="2047116"/>
            </a:xfrm>
            <a:prstGeom prst="chord">
              <a:avLst>
                <a:gd name="adj1" fmla="val 16260661"/>
                <a:gd name="adj2" fmla="val 16200000"/>
              </a:avLst>
            </a:prstGeom>
            <a:gradFill>
              <a:gsLst>
                <a:gs pos="83000">
                  <a:schemeClr val="bg1">
                    <a:alpha val="52000"/>
                  </a:schemeClr>
                </a:gs>
                <a:gs pos="0">
                  <a:schemeClr val="bg1"/>
                </a:gs>
                <a:gs pos="100000">
                  <a:schemeClr val="bg1">
                    <a:alpha val="31000"/>
                  </a:schemeClr>
                </a:gs>
              </a:gsLst>
              <a:lin ang="10800000" scaled="1"/>
            </a:gradFill>
            <a:ln w="19050">
              <a:solidFill>
                <a:schemeClr val="bg1">
                  <a:alpha val="49000"/>
                </a:schemeClr>
              </a:solidFill>
            </a:ln>
            <a:effectLst>
              <a:innerShdw blurRad="114300">
                <a:prstClr val="black">
                  <a:alpha val="32000"/>
                </a:prstClr>
              </a:inn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400" dirty="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909493" y="4217087"/>
              <a:ext cx="1835667" cy="32271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400050" fontAlgn="b">
                <a:lnSpc>
                  <a:spcPct val="110000"/>
                </a:lnSpc>
                <a:tabLst>
                  <a:tab pos="514350" algn="l"/>
                </a:tabLst>
              </a:pPr>
              <a:r>
                <a:rPr lang="en-US" sz="1600" b="1" dirty="0">
                  <a:effectLst>
                    <a:outerShdw blurRad="762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Kozuka Gothic Pro M" pitchFamily="34" charset="-128"/>
                  <a:cs typeface="Arial" pitchFamily="34" charset="0"/>
                </a:rPr>
                <a:t>Objective 4</a:t>
              </a:r>
            </a:p>
          </p:txBody>
        </p:sp>
      </p:grpSp>
      <p:grpSp>
        <p:nvGrpSpPr>
          <p:cNvPr id="5" name="Group 6"/>
          <p:cNvGrpSpPr/>
          <p:nvPr/>
        </p:nvGrpSpPr>
        <p:grpSpPr>
          <a:xfrm>
            <a:off x="533400" y="1066799"/>
            <a:ext cx="2644807" cy="1968229"/>
            <a:chOff x="533400" y="1066799"/>
            <a:chExt cx="2644807" cy="1968229"/>
          </a:xfrm>
        </p:grpSpPr>
        <p:grpSp>
          <p:nvGrpSpPr>
            <p:cNvPr id="6" name="Group 3"/>
            <p:cNvGrpSpPr/>
            <p:nvPr/>
          </p:nvGrpSpPr>
          <p:grpSpPr>
            <a:xfrm>
              <a:off x="780736" y="1066799"/>
              <a:ext cx="2260168" cy="1968229"/>
              <a:chOff x="780736" y="1066799"/>
              <a:chExt cx="2260168" cy="1968229"/>
            </a:xfrm>
          </p:grpSpPr>
          <p:sp>
            <p:nvSpPr>
              <p:cNvPr id="3" name="Oval Callout 2"/>
              <p:cNvSpPr/>
              <p:nvPr/>
            </p:nvSpPr>
            <p:spPr>
              <a:xfrm rot="5400000" flipH="1" flipV="1">
                <a:off x="926705" y="920830"/>
                <a:ext cx="1968229" cy="2260168"/>
              </a:xfrm>
              <a:prstGeom prst="wedgeEllipseCallout">
                <a:avLst>
                  <a:gd name="adj1" fmla="val -123073"/>
                  <a:gd name="adj2" fmla="val 98445"/>
                </a:avLst>
              </a:prstGeom>
              <a:gradFill flip="none" rotWithShape="1">
                <a:gsLst>
                  <a:gs pos="83000">
                    <a:srgbClr val="5A930E"/>
                  </a:gs>
                  <a:gs pos="0">
                    <a:srgbClr val="9BED17"/>
                  </a:gs>
                  <a:gs pos="100000">
                    <a:srgbClr val="305808"/>
                  </a:gs>
                </a:gsLst>
                <a:lin ang="10800000" scaled="1"/>
                <a:tileRect/>
              </a:gradFill>
              <a:ln>
                <a:noFill/>
              </a:ln>
              <a:effectLst>
                <a:outerShdw blurRad="50800" dist="63500" dir="5400000" algn="t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/>
              </a:p>
            </p:txBody>
          </p:sp>
          <p:sp>
            <p:nvSpPr>
              <p:cNvPr id="40" name="Chord 39"/>
              <p:cNvSpPr/>
              <p:nvPr/>
            </p:nvSpPr>
            <p:spPr>
              <a:xfrm rot="16031008">
                <a:off x="1034478" y="1024651"/>
                <a:ext cx="1769775" cy="2047116"/>
              </a:xfrm>
              <a:prstGeom prst="chord">
                <a:avLst>
                  <a:gd name="adj1" fmla="val 16260661"/>
                  <a:gd name="adj2" fmla="val 16200000"/>
                </a:avLst>
              </a:prstGeom>
              <a:gradFill>
                <a:gsLst>
                  <a:gs pos="83000">
                    <a:schemeClr val="bg1">
                      <a:alpha val="52000"/>
                    </a:schemeClr>
                  </a:gs>
                  <a:gs pos="0">
                    <a:schemeClr val="bg1"/>
                  </a:gs>
                  <a:gs pos="100000">
                    <a:schemeClr val="bg1">
                      <a:alpha val="31000"/>
                    </a:schemeClr>
                  </a:gs>
                </a:gsLst>
                <a:lin ang="10800000" scaled="1"/>
              </a:gradFill>
              <a:ln w="19050">
                <a:solidFill>
                  <a:schemeClr val="bg1">
                    <a:alpha val="49000"/>
                  </a:schemeClr>
                </a:solidFill>
              </a:ln>
              <a:effectLst>
                <a:innerShdw blurRad="114300">
                  <a:prstClr val="black">
                    <a:alpha val="32000"/>
                  </a:prstClr>
                </a:innerShdw>
              </a:effectLst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GB" sz="1400" dirty="0"/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917360" y="1335435"/>
                <a:ext cx="1650839" cy="32271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400050" algn="ctr" fontAlgn="b">
                  <a:lnSpc>
                    <a:spcPct val="110000"/>
                  </a:lnSpc>
                  <a:tabLst>
                    <a:tab pos="514350" algn="l"/>
                  </a:tabLst>
                </a:pPr>
                <a:r>
                  <a:rPr lang="en-US" sz="1600" b="1" dirty="0">
                    <a:effectLst>
                      <a:outerShdw blurRad="762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+mj-lt"/>
                    <a:ea typeface="Kozuka Gothic Pro M" pitchFamily="34" charset="-128"/>
                    <a:cs typeface="Arial" pitchFamily="34" charset="0"/>
                  </a:rPr>
                  <a:t>Objective 1</a:t>
                </a:r>
              </a:p>
            </p:txBody>
          </p:sp>
        </p:grpSp>
        <p:sp>
          <p:nvSpPr>
            <p:cNvPr id="41" name="TextBox 40"/>
            <p:cNvSpPr txBox="1"/>
            <p:nvPr/>
          </p:nvSpPr>
          <p:spPr>
            <a:xfrm>
              <a:off x="533400" y="1630462"/>
              <a:ext cx="2644807" cy="600164"/>
            </a:xfrm>
            <a:prstGeom prst="rect">
              <a:avLst/>
            </a:prstGeom>
            <a:noFill/>
            <a:effectLst/>
          </p:spPr>
          <p:txBody>
            <a:bodyPr wrap="square" rtlCol="0" anchor="ctr">
              <a:spAutoFit/>
            </a:bodyPr>
            <a:lstStyle/>
            <a:p>
              <a:pPr marL="400050" fontAlgn="b">
                <a:tabLst>
                  <a:tab pos="514350" algn="l"/>
                </a:tabLst>
              </a:pPr>
              <a:r>
                <a:rPr lang="en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outerShdw blurRad="279400" dist="50800" dir="5400000" sx="97000" sy="97000" algn="t" rotWithShape="0">
                      <a:schemeClr val="bg2">
                        <a:lumMod val="10000"/>
                        <a:alpha val="26000"/>
                      </a:schemeClr>
                    </a:outerShdw>
                  </a:effectLst>
                  <a:ea typeface="Kozuka Gothic Pro M" pitchFamily="34" charset="-128"/>
                  <a:cs typeface="Arial" pitchFamily="34" charset="0"/>
                </a:rPr>
                <a:t/>
              </a:r>
              <a:br>
                <a:rPr lang="en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outerShdw blurRad="279400" dist="50800" dir="5400000" sx="97000" sy="97000" algn="t" rotWithShape="0">
                      <a:schemeClr val="bg2">
                        <a:lumMod val="10000"/>
                        <a:alpha val="26000"/>
                      </a:schemeClr>
                    </a:outerShdw>
                  </a:effectLst>
                  <a:ea typeface="Kozuka Gothic Pro M" pitchFamily="34" charset="-128"/>
                  <a:cs typeface="Arial" pitchFamily="34" charset="0"/>
                </a:rPr>
              </a:br>
              <a:r>
                <a:rPr lang="en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outerShdw blurRad="279400" dist="50800" dir="5400000" sx="97000" sy="97000" algn="t" rotWithShape="0">
                      <a:schemeClr val="bg2">
                        <a:lumMod val="10000"/>
                        <a:alpha val="26000"/>
                      </a:schemeClr>
                    </a:outerShdw>
                  </a:effectLst>
                  <a:ea typeface="Kozuka Gothic Pro M" pitchFamily="34" charset="-128"/>
                  <a:cs typeface="Arial" pitchFamily="34" charset="0"/>
                </a:rPr>
                <a:t/>
              </a:r>
              <a:br>
                <a:rPr lang="en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outerShdw blurRad="279400" dist="50800" dir="5400000" sx="97000" sy="97000" algn="t" rotWithShape="0">
                      <a:schemeClr val="bg2">
                        <a:lumMod val="10000"/>
                        <a:alpha val="26000"/>
                      </a:schemeClr>
                    </a:outerShdw>
                  </a:effectLst>
                  <a:ea typeface="Kozuka Gothic Pro M" pitchFamily="34" charset="-128"/>
                  <a:cs typeface="Arial" pitchFamily="34" charset="0"/>
                </a:rPr>
              </a:br>
              <a:endParaRPr lang="en-US" sz="110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279400" dist="50800" dir="5400000" sx="97000" sy="97000" algn="t" rotWithShape="0">
                    <a:schemeClr val="bg2">
                      <a:lumMod val="10000"/>
                      <a:alpha val="26000"/>
                    </a:schemeClr>
                  </a:outerShdw>
                </a:effectLst>
                <a:ea typeface="Kozuka Gothic Pro M" pitchFamily="34" charset="-128"/>
                <a:cs typeface="Arial" pitchFamily="34" charset="0"/>
              </a:endParaRPr>
            </a:p>
          </p:txBody>
        </p:sp>
      </p:grpSp>
      <p:grpSp>
        <p:nvGrpSpPr>
          <p:cNvPr id="7" name="Group 8"/>
          <p:cNvGrpSpPr/>
          <p:nvPr/>
        </p:nvGrpSpPr>
        <p:grpSpPr>
          <a:xfrm>
            <a:off x="5441217" y="1990714"/>
            <a:ext cx="2396490" cy="1968228"/>
            <a:chOff x="5441217" y="1990714"/>
            <a:chExt cx="2396490" cy="1968228"/>
          </a:xfrm>
        </p:grpSpPr>
        <p:sp>
          <p:nvSpPr>
            <p:cNvPr id="38" name="Oval Callout 37"/>
            <p:cNvSpPr/>
            <p:nvPr/>
          </p:nvSpPr>
          <p:spPr>
            <a:xfrm rot="16200000" flipV="1">
              <a:off x="5596191" y="1835740"/>
              <a:ext cx="1968228" cy="2278176"/>
            </a:xfrm>
            <a:prstGeom prst="wedgeEllipseCallout">
              <a:avLst>
                <a:gd name="adj1" fmla="val -93224"/>
                <a:gd name="adj2" fmla="val 77723"/>
              </a:avLst>
            </a:prstGeom>
            <a:gradFill flip="none" rotWithShape="1">
              <a:gsLst>
                <a:gs pos="81000">
                  <a:srgbClr val="0E618F"/>
                </a:gs>
                <a:gs pos="0">
                  <a:srgbClr val="00B0F0"/>
                </a:gs>
                <a:gs pos="100000">
                  <a:srgbClr val="182848"/>
                </a:gs>
              </a:gsLst>
              <a:lin ang="10800000" scaled="1"/>
              <a:tileRect/>
            </a:gradFill>
            <a:ln>
              <a:noFill/>
            </a:ln>
            <a:effectLst>
              <a:outerShdw blurRad="50800" dist="63500" dir="6000000" algn="t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  <p:sp>
          <p:nvSpPr>
            <p:cNvPr id="44" name="Chord 43"/>
            <p:cNvSpPr/>
            <p:nvPr/>
          </p:nvSpPr>
          <p:spPr>
            <a:xfrm rot="16031008">
              <a:off x="5703661" y="1945270"/>
              <a:ext cx="1769775" cy="2047116"/>
            </a:xfrm>
            <a:prstGeom prst="chord">
              <a:avLst>
                <a:gd name="adj1" fmla="val 16260661"/>
                <a:gd name="adj2" fmla="val 16200000"/>
              </a:avLst>
            </a:prstGeom>
            <a:gradFill>
              <a:gsLst>
                <a:gs pos="83000">
                  <a:schemeClr val="bg1">
                    <a:alpha val="52000"/>
                  </a:schemeClr>
                </a:gs>
                <a:gs pos="0">
                  <a:schemeClr val="bg1"/>
                </a:gs>
                <a:gs pos="100000">
                  <a:schemeClr val="bg1">
                    <a:alpha val="31000"/>
                  </a:schemeClr>
                </a:gs>
              </a:gsLst>
              <a:lin ang="10800000" scaled="1"/>
            </a:gradFill>
            <a:ln w="19050">
              <a:solidFill>
                <a:schemeClr val="bg1">
                  <a:alpha val="49000"/>
                </a:schemeClr>
              </a:solidFill>
            </a:ln>
            <a:effectLst>
              <a:innerShdw blurRad="114300">
                <a:prstClr val="black">
                  <a:alpha val="32000"/>
                </a:prstClr>
              </a:inn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400" dirty="0"/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5593086" y="2276206"/>
              <a:ext cx="2244621" cy="32271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400050" fontAlgn="b">
                <a:lnSpc>
                  <a:spcPct val="110000"/>
                </a:lnSpc>
                <a:tabLst>
                  <a:tab pos="514350" algn="l"/>
                </a:tabLst>
              </a:pPr>
              <a:r>
                <a:rPr lang="en-US" sz="1600" b="1" dirty="0">
                  <a:effectLst>
                    <a:outerShdw blurRad="762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Kozuka Gothic Pro M" pitchFamily="34" charset="-128"/>
                  <a:cs typeface="Arial" pitchFamily="34" charset="0"/>
                </a:rPr>
                <a:t>Objective 3</a:t>
              </a:r>
            </a:p>
          </p:txBody>
        </p:sp>
      </p:grpSp>
      <p:grpSp>
        <p:nvGrpSpPr>
          <p:cNvPr id="11" name="Group 31"/>
          <p:cNvGrpSpPr/>
          <p:nvPr/>
        </p:nvGrpSpPr>
        <p:grpSpPr>
          <a:xfrm>
            <a:off x="2425700" y="1652103"/>
            <a:ext cx="4267200" cy="5053497"/>
            <a:chOff x="2425700" y="2222500"/>
            <a:chExt cx="4267200" cy="5053497"/>
          </a:xfrm>
        </p:grpSpPr>
        <p:sp>
          <p:nvSpPr>
            <p:cNvPr id="33" name="Oval 32"/>
            <p:cNvSpPr/>
            <p:nvPr/>
          </p:nvSpPr>
          <p:spPr>
            <a:xfrm>
              <a:off x="2425700" y="2222500"/>
              <a:ext cx="4267200" cy="5053497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4" name="Oval 33"/>
            <p:cNvSpPr/>
            <p:nvPr/>
          </p:nvSpPr>
          <p:spPr>
            <a:xfrm>
              <a:off x="2514600" y="4495799"/>
              <a:ext cx="2743200" cy="2170597"/>
            </a:xfrm>
            <a:prstGeom prst="ellipse">
              <a:avLst/>
            </a:prstGeom>
            <a:solidFill>
              <a:srgbClr val="47CFFF"/>
            </a:solidFill>
            <a:ln w="139700">
              <a:gradFill flip="none" rotWithShape="1">
                <a:gsLst>
                  <a:gs pos="0">
                    <a:srgbClr val="00B0F0"/>
                  </a:gs>
                  <a:gs pos="85000">
                    <a:srgbClr val="0E6193"/>
                  </a:gs>
                  <a:gs pos="100000">
                    <a:srgbClr val="0070C0"/>
                  </a:gs>
                </a:gsLst>
                <a:lin ang="16200000" scaled="1"/>
                <a:tileRect/>
              </a:gradFill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cene3d>
              <a:camera prst="perspectiveFront" fov="2700000">
                <a:rot lat="20376000" lon="1938000" rev="20112001"/>
              </a:camera>
              <a:lightRig rig="flood" dir="t"/>
            </a:scene3d>
            <a:sp3d extrusionH="234950" prstMaterial="matte">
              <a:bevelT w="819150" h="88900" prst="softRound"/>
              <a:bevelB w="0" h="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400" b="1" dirty="0">
                <a:ln w="19050">
                  <a:noFill/>
                  <a:prstDash val="solid"/>
                </a:ln>
                <a:solidFill>
                  <a:srgbClr val="182848"/>
                </a:solidFill>
                <a:latin typeface="Impact" pitchFamily="34" charset="0"/>
              </a:endParaRPr>
            </a:p>
          </p:txBody>
        </p:sp>
        <p:sp>
          <p:nvSpPr>
            <p:cNvPr id="35" name="Oval 34"/>
            <p:cNvSpPr/>
            <p:nvPr/>
          </p:nvSpPr>
          <p:spPr>
            <a:xfrm>
              <a:off x="2794000" y="4686300"/>
              <a:ext cx="2200604" cy="1750636"/>
            </a:xfrm>
            <a:prstGeom prst="ellipse">
              <a:avLst/>
            </a:prstGeom>
            <a:gradFill>
              <a:gsLst>
                <a:gs pos="1000">
                  <a:srgbClr val="EF2525">
                    <a:alpha val="0"/>
                  </a:srgbClr>
                </a:gs>
                <a:gs pos="2900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6200000" scaled="1"/>
            </a:gradFill>
            <a:ln w="139700">
              <a:noFill/>
            </a:ln>
            <a:effectLst/>
            <a:scene3d>
              <a:camera prst="perspectiveFront" fov="2700000">
                <a:rot lat="20376000" lon="1938000" rev="20112001"/>
              </a:camera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400" b="1" dirty="0">
                <a:ln w="19050">
                  <a:noFill/>
                  <a:prstDash val="solid"/>
                </a:ln>
                <a:solidFill>
                  <a:srgbClr val="182848"/>
                </a:solidFill>
                <a:latin typeface="Impact" pitchFamily="34" charset="0"/>
              </a:endParaRPr>
            </a:p>
          </p:txBody>
        </p:sp>
        <p:sp>
          <p:nvSpPr>
            <p:cNvPr id="36" name="Oval 35"/>
            <p:cNvSpPr/>
            <p:nvPr/>
          </p:nvSpPr>
          <p:spPr>
            <a:xfrm>
              <a:off x="2511096" y="5066197"/>
              <a:ext cx="2518104" cy="1152292"/>
            </a:xfrm>
            <a:prstGeom prst="ellipse">
              <a:avLst/>
            </a:prstGeom>
            <a:noFill/>
            <a:ln w="139700">
              <a:noFill/>
            </a:ln>
            <a:effectLst/>
            <a:scene3d>
              <a:camera prst="perspectiveFront" fov="2700000">
                <a:rot lat="20376000" lon="1938000" rev="20112001"/>
              </a:camera>
              <a:lightRig rig="flood" dir="t"/>
            </a:scene3d>
            <a:sp3d extrusionH="234950" prstMaterial="plastic">
              <a:bevelT w="819150" h="88900" prst="softRound"/>
              <a:bevelB w="0" h="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3d>
                <a:bevelT w="0" h="0"/>
                <a:extrusionClr>
                  <a:schemeClr val="bg1"/>
                </a:extrusionClr>
                <a:contourClr>
                  <a:srgbClr val="FFFF00"/>
                </a:contourClr>
              </a:sp3d>
            </a:bodyPr>
            <a:lstStyle/>
            <a:p>
              <a:pPr algn="ctr"/>
              <a:r>
                <a:rPr lang="en-GB" sz="3200" b="1" dirty="0">
                  <a:ln w="19050">
                    <a:noFill/>
                    <a:prstDash val="solid"/>
                  </a:ln>
                  <a:solidFill>
                    <a:srgbClr val="002060"/>
                  </a:solidFill>
                  <a:effectLst>
                    <a:outerShdw blurRad="50800" dist="38100" dir="16200000" rotWithShape="0">
                      <a:prstClr val="black">
                        <a:alpha val="40000"/>
                      </a:prstClr>
                    </a:outerShdw>
                  </a:effectLst>
                  <a:latin typeface="Impact" pitchFamily="34" charset="0"/>
                </a:rPr>
                <a:t>objective</a:t>
              </a:r>
            </a:p>
          </p:txBody>
        </p:sp>
      </p:grpSp>
      <p:sp>
        <p:nvSpPr>
          <p:cNvPr id="45" name="Rectangle 44"/>
          <p:cNvSpPr/>
          <p:nvPr/>
        </p:nvSpPr>
        <p:spPr>
          <a:xfrm>
            <a:off x="1066800" y="1600200"/>
            <a:ext cx="17526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/>
              <a:t>To </a:t>
            </a:r>
            <a:r>
              <a:rPr lang="en-US" dirty="0" smtClean="0"/>
              <a:t>design </a:t>
            </a:r>
            <a:r>
              <a:rPr lang="en-US" dirty="0"/>
              <a:t>a robot which can draw any sketch based on </a:t>
            </a:r>
            <a:r>
              <a:rPr lang="en-US" dirty="0" err="1"/>
              <a:t>i</a:t>
            </a:r>
            <a:r>
              <a:rPr lang="en-US" dirty="0"/>
              <a:t>/p</a:t>
            </a:r>
          </a:p>
        </p:txBody>
      </p:sp>
      <p:sp>
        <p:nvSpPr>
          <p:cNvPr id="55" name="Oval Callout 54"/>
          <p:cNvSpPr/>
          <p:nvPr/>
        </p:nvSpPr>
        <p:spPr>
          <a:xfrm rot="16200000" flipV="1">
            <a:off x="3431574" y="759426"/>
            <a:ext cx="1968228" cy="2278176"/>
          </a:xfrm>
          <a:prstGeom prst="wedgeEllipseCallout">
            <a:avLst>
              <a:gd name="adj1" fmla="val -108949"/>
              <a:gd name="adj2" fmla="val 7946"/>
            </a:avLst>
          </a:prstGeom>
          <a:ln w="76200"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endParaRPr lang="en-GB" sz="1400" b="1">
              <a:ln w="50800"/>
              <a:solidFill>
                <a:schemeClr val="bg1">
                  <a:shade val="50000"/>
                </a:schemeClr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511404" y="1448044"/>
            <a:ext cx="17526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To create a model based on design</a:t>
            </a:r>
            <a:endParaRPr lang="en-US" dirty="0"/>
          </a:p>
        </p:txBody>
      </p:sp>
      <p:sp>
        <p:nvSpPr>
          <p:cNvPr id="32" name="TextBox 31"/>
          <p:cNvSpPr txBox="1"/>
          <p:nvPr/>
        </p:nvSpPr>
        <p:spPr>
          <a:xfrm>
            <a:off x="3352800" y="1143000"/>
            <a:ext cx="1650839" cy="32271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400050" algn="ctr" fontAlgn="b">
              <a:lnSpc>
                <a:spcPct val="110000"/>
              </a:lnSpc>
              <a:tabLst>
                <a:tab pos="514350" algn="l"/>
              </a:tabLst>
            </a:pPr>
            <a:r>
              <a:rPr lang="en-US" sz="1600" b="1" dirty="0">
                <a:effectLst>
                  <a:outerShdw blurRad="762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Kozuka Gothic Pro M" pitchFamily="34" charset="-128"/>
                <a:cs typeface="Arial" pitchFamily="34" charset="0"/>
              </a:rPr>
              <a:t>Objective 2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715000" y="2514600"/>
            <a:ext cx="17526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 To make a assembly of sketch robot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9952ED8A-458E-465B-B6AC-D7DB5D0B31C9}"/>
              </a:ext>
            </a:extLst>
          </p:cNvPr>
          <p:cNvSpPr txBox="1"/>
          <p:nvPr/>
        </p:nvSpPr>
        <p:spPr>
          <a:xfrm>
            <a:off x="5977368" y="4495800"/>
            <a:ext cx="17983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dirty="0" smtClean="0"/>
              <a:t>To Execute and analysis the result and make a record</a:t>
            </a:r>
            <a:endParaRPr lang="en-IN" dirty="0"/>
          </a:p>
        </p:txBody>
      </p:sp>
      <p:sp>
        <p:nvSpPr>
          <p:cNvPr id="8" name="Rectangle 7"/>
          <p:cNvSpPr/>
          <p:nvPr/>
        </p:nvSpPr>
        <p:spPr>
          <a:xfrm>
            <a:off x="304800" y="104549"/>
            <a:ext cx="281157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4000" b="1" dirty="0">
                <a:ln w="19050">
                  <a:noFill/>
                  <a:prstDash val="solid"/>
                </a:ln>
                <a:solidFill>
                  <a:srgbClr val="002060"/>
                </a:solidFill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  <a:latin typeface="Garamond" panose="02020404030301010803" pitchFamily="18" charset="0"/>
              </a:rPr>
              <a:t>O</a:t>
            </a:r>
            <a:r>
              <a:rPr lang="en-GB" sz="4000" b="1" dirty="0" smtClean="0">
                <a:ln w="19050">
                  <a:noFill/>
                  <a:prstDash val="solid"/>
                </a:ln>
                <a:solidFill>
                  <a:srgbClr val="002060"/>
                </a:solidFill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  <a:latin typeface="Garamond" panose="02020404030301010803" pitchFamily="18" charset="0"/>
              </a:rPr>
              <a:t>bjective</a:t>
            </a:r>
            <a:endParaRPr lang="en-IN" sz="3200" dirty="0"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8067262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74638"/>
            <a:ext cx="9144000" cy="1143000"/>
          </a:xfr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40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POSSIBLE OUTCOMES</a:t>
            </a:r>
            <a:endParaRPr lang="en-US" sz="4000" b="1" u="sng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371600"/>
            <a:ext cx="9144000" cy="5486400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marL="514350" lvl="0" indent="-514350">
              <a:buFont typeface="+mj-lt"/>
              <a:buAutoNum type="arabicPeriod"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Robot for drawing any sketch with any size</a:t>
            </a:r>
          </a:p>
          <a:p>
            <a:pPr marL="514350" lvl="0" indent="-514350">
              <a:buFont typeface="+mj-lt"/>
              <a:buAutoNum type="arabicPeriod"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portable robot which operate from any where.</a:t>
            </a:r>
            <a:endParaRPr lang="en-IN" dirty="0" smtClean="0">
              <a:latin typeface="Arial" pitchFamily="34" charset="0"/>
              <a:cs typeface="Arial" pitchFamily="34" charset="0"/>
            </a:endParaRPr>
          </a:p>
          <a:p>
            <a:pPr marL="514350" lvl="0" indent="-514350">
              <a:buFont typeface="+mj-lt"/>
              <a:buAutoNum type="arabicPeriod"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Multi purpose robot.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Should be easy to used</a:t>
            </a:r>
          </a:p>
          <a:p>
            <a:pPr marL="514350" lvl="0" indent="-514350">
              <a:buFont typeface="+mj-lt"/>
              <a:buAutoNum type="arabicPeriod"/>
            </a:pPr>
            <a:endParaRPr lang="en-IN" dirty="0" smtClean="0"/>
          </a:p>
          <a:p>
            <a:pPr marL="514350" indent="-514350">
              <a:buFont typeface="+mj-lt"/>
              <a:buAutoNum type="arabicPeriod"/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74</TotalTime>
  <Words>922</Words>
  <Application>Microsoft Office PowerPoint</Application>
  <PresentationFormat>On-screen Show (4:3)</PresentationFormat>
  <Paragraphs>215</Paragraphs>
  <Slides>26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8" baseType="lpstr">
      <vt:lpstr>Office Theme</vt:lpstr>
      <vt:lpstr>think-cell Slide</vt:lpstr>
      <vt:lpstr>Slide 1</vt:lpstr>
      <vt:lpstr>Slide 2</vt:lpstr>
      <vt:lpstr>INTRODUCTION OF ROBOT</vt:lpstr>
      <vt:lpstr>LITERATURE REVIEW</vt:lpstr>
      <vt:lpstr>Slide 5</vt:lpstr>
      <vt:lpstr>Slide 6</vt:lpstr>
      <vt:lpstr>Slide 7</vt:lpstr>
      <vt:lpstr>Slide 8</vt:lpstr>
      <vt:lpstr>POSSIBLE OUTCOMES</vt:lpstr>
      <vt:lpstr>Slide 10</vt:lpstr>
      <vt:lpstr>Actual project photo-Reference</vt:lpstr>
      <vt:lpstr>Slide 12</vt:lpstr>
      <vt:lpstr>FLOWCHART</vt:lpstr>
      <vt:lpstr>Slide 14</vt:lpstr>
      <vt:lpstr>Slide 15</vt:lpstr>
      <vt:lpstr>Slide 16</vt:lpstr>
      <vt:lpstr>Slide 17</vt:lpstr>
      <vt:lpstr>Slide 18</vt:lpstr>
      <vt:lpstr>All components</vt:lpstr>
      <vt:lpstr>All Components</vt:lpstr>
      <vt:lpstr>Slide 21</vt:lpstr>
      <vt:lpstr>Slide 22</vt:lpstr>
      <vt:lpstr>Slide 23</vt:lpstr>
      <vt:lpstr>Slide 24</vt:lpstr>
      <vt:lpstr>Slide 25</vt:lpstr>
      <vt:lpstr>Slide 2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tudent.2</dc:creator>
  <cp:lastModifiedBy>student.2</cp:lastModifiedBy>
  <cp:revision>112</cp:revision>
  <dcterms:created xsi:type="dcterms:W3CDTF">2021-11-17T10:38:32Z</dcterms:created>
  <dcterms:modified xsi:type="dcterms:W3CDTF">2021-11-20T07:44:17Z</dcterms:modified>
</cp:coreProperties>
</file>